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4393" r:id="rId2"/>
    <p:sldId id="4651" r:id="rId3"/>
    <p:sldId id="4638" r:id="rId4"/>
    <p:sldId id="4645" r:id="rId5"/>
    <p:sldId id="4610" r:id="rId6"/>
    <p:sldId id="4647" r:id="rId7"/>
    <p:sldId id="4639" r:id="rId8"/>
    <p:sldId id="4648" r:id="rId9"/>
    <p:sldId id="4641" r:id="rId10"/>
    <p:sldId id="4644" r:id="rId11"/>
    <p:sldId id="4652" r:id="rId12"/>
    <p:sldId id="4649" r:id="rId13"/>
    <p:sldId id="4643" r:id="rId14"/>
    <p:sldId id="4650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4DEE8BB-52DC-4378-A4F1-022C17F0F77F}">
          <p14:sldIdLst>
            <p14:sldId id="4393"/>
            <p14:sldId id="4651"/>
          </p14:sldIdLst>
        </p14:section>
        <p14:section name="Bombaugh - CTO" id="{5BC37F20-7A76-4CDF-AC1C-9C79951F8280}">
          <p14:sldIdLst>
            <p14:sldId id="4638"/>
            <p14:sldId id="4645"/>
          </p14:sldIdLst>
        </p14:section>
        <p14:section name="Cronkhite - CLPO" id="{F0F3C9FA-09F2-4061-83F6-6308D2A88DCD}">
          <p14:sldIdLst>
            <p14:sldId id="4610"/>
            <p14:sldId id="4647"/>
          </p14:sldIdLst>
        </p14:section>
        <p14:section name="Mehra - CIO" id="{80EAB4F4-DE2F-42BD-83E6-7D3D5EB18C9D}">
          <p14:sldIdLst>
            <p14:sldId id="4639"/>
            <p14:sldId id="4648"/>
          </p14:sldIdLst>
        </p14:section>
        <p14:section name="Monteith - CCMO" id="{2D27922E-434B-48A6-ABEE-A78736100D0A}">
          <p14:sldIdLst>
            <p14:sldId id="4641"/>
            <p14:sldId id="4644"/>
          </p14:sldIdLst>
        </p14:section>
        <p14:section name="Seaver - CRDO" id="{BBB3FF95-E9E2-42FD-B348-3EDD03E1C5B0}">
          <p14:sldIdLst>
            <p14:sldId id="4652"/>
            <p14:sldId id="4649"/>
          </p14:sldIdLst>
        </p14:section>
        <p14:section name="Strako-CCBSO" id="{33B6F537-48E6-4014-85F6-81BA65A9B4D0}">
          <p14:sldIdLst>
            <p14:sldId id="4643"/>
            <p14:sldId id="465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Watts, Jacqueline Y - Washington, DC" initials="WJY-WD" lastIdx="1" clrIdx="0">
    <p:extLst>
      <p:ext uri="{19B8F6BF-5375-455C-9EA6-DF929625EA0E}">
        <p15:presenceInfo xmlns:p15="http://schemas.microsoft.com/office/powerpoint/2012/main" userId="S::jacqueline.y.watts@usps.gov::4fde36ec-e449-4473-8773-a299006a4036" providerId="AD"/>
      </p:ext>
    </p:extLst>
  </p:cmAuthor>
  <p:cmAuthor id="2" name="Harris, Patricia N - Washington, DC" initials="HPN-WD" lastIdx="0" clrIdx="1">
    <p:extLst>
      <p:ext uri="{19B8F6BF-5375-455C-9EA6-DF929625EA0E}">
        <p15:presenceInfo xmlns:p15="http://schemas.microsoft.com/office/powerpoint/2012/main" userId="S-1-5-21-815684394-1082799842-1103567298-4759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AD8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196" autoAdjust="0"/>
    <p:restoredTop sz="94660"/>
  </p:normalViewPr>
  <p:slideViewPr>
    <p:cSldViewPr snapToGrid="0">
      <p:cViewPr varScale="1">
        <p:scale>
          <a:sx n="72" d="100"/>
          <a:sy n="72" d="100"/>
        </p:scale>
        <p:origin x="612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7" d="100"/>
          <a:sy n="87" d="100"/>
        </p:scale>
        <p:origin x="2988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B5C877-C77B-47BD-825A-482B3EB5DF5F}" type="doc">
      <dgm:prSet loTypeId="urn:microsoft.com/office/officeart/2005/8/layout/orgChart1" loCatId="hierarchy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030A46-7792-4815-B57B-046A07F0140A}">
      <dgm:prSet phldrT="[Text]" custT="1"/>
      <dgm:spPr>
        <a:solidFill>
          <a:schemeClr val="accent6">
            <a:lumMod val="75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VP Engineering Systems</a:t>
          </a:r>
        </a:p>
        <a:p>
          <a:r>
            <a:rPr lang="en-US" sz="900" b="1" dirty="0"/>
            <a:t>Linda Malone</a:t>
          </a:r>
          <a:endParaRPr lang="en-US" sz="900" dirty="0"/>
        </a:p>
      </dgm:t>
    </dgm:pt>
    <dgm:pt modelId="{93793C77-22A1-4452-AA5B-CD75C3A2088D}" type="parTrans" cxnId="{39718F2F-F1BB-4543-94B9-E375F01D123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3F7F991-0E15-4B2C-9412-38FC07AC3355}" type="sibTrans" cxnId="{39718F2F-F1BB-4543-94B9-E375F01D123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C4171510-A219-4D73-ABD0-9340201AB08B}">
      <dgm:prSet phldrT="[Text]" custT="1"/>
      <dgm:spPr>
        <a:solidFill>
          <a:schemeClr val="accent6">
            <a:lumMod val="75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VP Enterprise Analytics</a:t>
          </a:r>
        </a:p>
        <a:p>
          <a:r>
            <a:rPr lang="en-US" sz="900" b="1" dirty="0"/>
            <a:t>Jeff Johnson</a:t>
          </a:r>
        </a:p>
      </dgm:t>
    </dgm:pt>
    <dgm:pt modelId="{C596D3E0-CF1C-4186-873C-266C0BDDA405}" type="parTrans" cxnId="{0C7711AA-3347-45A2-BD1F-7A8F83B66F66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55F7E4BD-CE46-4672-9F79-FC039A5ADB47}" type="sibTrans" cxnId="{0C7711AA-3347-45A2-BD1F-7A8F83B66F66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5AF2A20-742B-4B54-82EE-1A36C3C1A1C1}">
      <dgm:prSet phldrT="[Text]" custT="1"/>
      <dgm:spPr>
        <a:solidFill>
          <a:schemeClr val="accent6">
            <a:lumMod val="75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/>
            <a:t>VP Innovative Business Technology</a:t>
          </a:r>
        </a:p>
        <a:p>
          <a:r>
            <a:rPr lang="en-US" sz="900" b="1" dirty="0"/>
            <a:t>Gary Reblin</a:t>
          </a:r>
        </a:p>
      </dgm:t>
    </dgm:pt>
    <dgm:pt modelId="{DD5605C9-86D4-46AB-815E-97791D76E890}" type="parTrans" cxnId="{DDE97A23-B107-4301-843B-9FAB7A3824CE}">
      <dgm:prSet/>
      <dgm:spPr>
        <a:solidFill>
          <a:srgbClr val="FFC000"/>
        </a:solidFill>
      </dgm:spPr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DB2CF243-4E5E-43F5-BC45-86118435809D}" type="sibTrans" cxnId="{DDE97A23-B107-4301-843B-9FAB7A3824CE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35E0ECF-1473-4459-9782-B3BFD89D844B}">
      <dgm:prSet phldrT="[Text]" custT="1"/>
      <dgm:spPr>
        <a:solidFill>
          <a:schemeClr val="accent1">
            <a:lumMod val="75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Chief Technology Operations Officer </a:t>
          </a:r>
        </a:p>
        <a:p>
          <a:r>
            <a:rPr lang="en-US" sz="900" b="1" dirty="0"/>
            <a:t>Scott Bombaugh</a:t>
          </a:r>
        </a:p>
      </dgm:t>
    </dgm:pt>
    <dgm:pt modelId="{90F12E4B-19E3-4560-90AB-454891BF7004}" type="parTrans" cxnId="{D9E37111-B8E5-4806-AAD1-7B9FA8B19E12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CF038FB-1CE1-4A98-8F2E-9A6C83F1B13E}" type="sibTrans" cxnId="{D9E37111-B8E5-4806-AAD1-7B9FA8B19E12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EB027484-7CEA-4CBE-BF58-C09DD2571399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Dir Engineering Software and Testing</a:t>
          </a:r>
        </a:p>
        <a:p>
          <a:r>
            <a:rPr lang="en-US" sz="900" b="1" dirty="0"/>
            <a:t>Shahpour Ashaari </a:t>
          </a:r>
          <a:endParaRPr lang="en-US" sz="900" dirty="0"/>
        </a:p>
      </dgm:t>
    </dgm:pt>
    <dgm:pt modelId="{9F1142D6-E2EB-4B62-9657-E1BFD7D3F930}" type="parTrans" cxnId="{5DE9968B-CBA3-4207-95E2-F8184BAEC33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E2DFD20-B35C-4A34-A97B-6B21C5343AD5}" type="sibTrans" cxnId="{5DE9968B-CBA3-4207-95E2-F8184BAEC33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3F407392-4167-4C51-A077-D7329DB2CED1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Dir Delivery and Retail Technology</a:t>
          </a:r>
        </a:p>
        <a:p>
          <a:r>
            <a:rPr lang="en-US" sz="900" b="1" dirty="0"/>
            <a:t>Alison Turner</a:t>
          </a:r>
          <a:endParaRPr lang="en-US" sz="900" dirty="0"/>
        </a:p>
      </dgm:t>
    </dgm:pt>
    <dgm:pt modelId="{2B5C111A-46A9-4164-9BED-60CE7D0DEFD1}" type="parTrans" cxnId="{CB138089-4E9F-49D4-A965-67B2284B85F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32346728-CBD2-4171-9AB1-F5DFDB148C4F}" type="sibTrans" cxnId="{CB138089-4E9F-49D4-A965-67B2284B85F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16816A87-973E-4B4F-A654-1165D3D6BD11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Dir Technology Development and Application</a:t>
          </a:r>
        </a:p>
        <a:p>
          <a:r>
            <a:rPr lang="en-US" sz="900" b="1" dirty="0"/>
            <a:t>Amit Cholkar</a:t>
          </a:r>
          <a:endParaRPr lang="en-US" sz="900" dirty="0"/>
        </a:p>
      </dgm:t>
    </dgm:pt>
    <dgm:pt modelId="{A097BC90-7C7B-4417-B541-121A504AFDFB}" type="parTrans" cxnId="{46B04127-D0A8-4C5E-894B-CE18DD1B80E5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1455817B-A8D7-45E2-9E06-FEB2383BDF0C}" type="sibTrans" cxnId="{46B04127-D0A8-4C5E-894B-CE18DD1B80E5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35612C9-9748-445A-8901-0517F5E97322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Dir Technology Acquisition       and Program Management</a:t>
          </a:r>
        </a:p>
        <a:p>
          <a:r>
            <a:rPr lang="en-US" sz="900" b="1" dirty="0"/>
            <a:t>Don Crone</a:t>
          </a:r>
          <a:endParaRPr lang="en-US" sz="900" dirty="0"/>
        </a:p>
      </dgm:t>
    </dgm:pt>
    <dgm:pt modelId="{5AA235E6-8A4F-4D6A-81B1-691C8B486EDE}" type="parTrans" cxnId="{02DFD0CC-2538-4C00-AA64-07624E871026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EDFDEFD-BDA8-47FD-87F7-6763CD7FB148}" type="sibTrans" cxnId="{02DFD0CC-2538-4C00-AA64-07624E871026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3996FD5-4B24-43FC-9B73-EB82E12E15BD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Dir Corporate Reporting</a:t>
          </a:r>
        </a:p>
        <a:p>
          <a:r>
            <a:rPr lang="en-US" sz="900" b="1" dirty="0"/>
            <a:t>Stephen Dearing</a:t>
          </a:r>
        </a:p>
      </dgm:t>
    </dgm:pt>
    <dgm:pt modelId="{D31CC421-290B-41DD-B006-DFB813BBC81E}" type="parTrans" cxnId="{1A46E2A8-2BAF-4F06-BD1D-31E4878853E3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354B113F-3523-4050-AF52-AC08D8151D46}" type="sibTrans" cxnId="{1A46E2A8-2BAF-4F06-BD1D-31E4878853E3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B35741F1-64E8-425C-8768-F1973D6B9FCD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Dir Addressing &amp;Geospatial Technology</a:t>
          </a:r>
        </a:p>
        <a:p>
          <a:r>
            <a:rPr lang="en-US" sz="900" b="1" dirty="0"/>
            <a:t>James Wilson</a:t>
          </a:r>
        </a:p>
      </dgm:t>
    </dgm:pt>
    <dgm:pt modelId="{F7724F3E-23A6-4AE0-9E34-B131A4643726}" type="parTrans" cxnId="{0E72D436-B8EE-4BEE-AA3A-24FF9B25788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8B689FC8-9BB4-4215-BCC7-149B8015AFDB}" type="sibTrans" cxnId="{0E72D436-B8EE-4BEE-AA3A-24FF9B25788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EF0A4041-6C46-4B93-AC8F-400BFAEA32CE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/>
            <a:t>Dir Advanced Analytics</a:t>
          </a:r>
        </a:p>
        <a:p>
          <a:r>
            <a:rPr lang="en-US" sz="900" b="1"/>
            <a:t>Wilairat Udomsawat</a:t>
          </a:r>
          <a:endParaRPr lang="en-US" sz="900" b="1" dirty="0"/>
        </a:p>
      </dgm:t>
    </dgm:pt>
    <dgm:pt modelId="{B3DF8B2E-F63B-4C81-B13E-ACAE6BECD028}" type="parTrans" cxnId="{27C8FB17-792C-4ABD-B119-C78631A2B968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4FD8CD33-F03F-4380-9B0F-0F5E88BBD306}" type="sibTrans" cxnId="{27C8FB17-792C-4ABD-B119-C78631A2B968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4BA30C2-EE2A-4C06-9F5B-E5D4035B17CC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Dir Systems Integration/A</a:t>
          </a:r>
        </a:p>
        <a:p>
          <a:r>
            <a:rPr lang="en-US" sz="900" b="1" dirty="0"/>
            <a:t>Robert Moran</a:t>
          </a:r>
        </a:p>
      </dgm:t>
    </dgm:pt>
    <dgm:pt modelId="{C2BCB542-154D-41AA-BC2F-0175A751E962}" type="parTrans" cxnId="{CF994ADA-1817-41AD-A61F-47E09902D3D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ED78C04B-1E00-40C4-9DDF-16B2B13BAE0C}" type="sibTrans" cxnId="{CF994ADA-1817-41AD-A61F-47E09902D3D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145CDE4C-D961-40ED-AD5C-4F15CABC75FB}">
      <dgm:prSet phldrT="[Text]" custT="1"/>
      <dgm:spPr>
        <a:solidFill>
          <a:schemeClr val="accent5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/>
            <a:t>Mgr Mail and Package Information Systems</a:t>
          </a:r>
        </a:p>
        <a:p>
          <a:r>
            <a:rPr lang="en-US" sz="900" b="1" dirty="0"/>
            <a:t>Juliaann Hess</a:t>
          </a:r>
        </a:p>
      </dgm:t>
    </dgm:pt>
    <dgm:pt modelId="{D1F08918-E87A-4827-96EB-197E1D459CA4}" type="parTrans" cxnId="{E22470A6-5529-4624-AFED-C98CADA68AC1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4B760262-8528-4642-BF4B-1AE4691717F0}" type="sibTrans" cxnId="{E22470A6-5529-4624-AFED-C98CADA68AC1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8529EF1-C1C6-4CD6-BDBF-4ADB1B3719D4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/>
            <a:t>Dir Digital Business</a:t>
          </a:r>
        </a:p>
        <a:p>
          <a:r>
            <a:rPr lang="en-US" sz="900" b="1"/>
            <a:t>Lauren Lee</a:t>
          </a:r>
          <a:endParaRPr lang="en-US" sz="900" b="1" dirty="0"/>
        </a:p>
      </dgm:t>
    </dgm:pt>
    <dgm:pt modelId="{5CF60ADD-7448-4FA0-B129-3579EFE6BDBF}" type="parTrans" cxnId="{A61EE544-CE24-4F3B-A5CE-4C7D53B1251F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CE863CE-E8BB-4110-960E-C20F50638BCB}" type="sibTrans" cxnId="{A61EE544-CE24-4F3B-A5CE-4C7D53B1251F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55D3AE3F-3FF9-459E-AA41-4FFD3A4B530A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r>
            <a:rPr lang="en-US" sz="900" kern="1200" dirty="0"/>
            <a:t>Dir Material Handling and Robotics</a:t>
          </a:r>
        </a:p>
        <a:p>
          <a:r>
            <a:rPr lang="en-US" sz="900" b="1" kern="1200" dirty="0"/>
            <a:t>John Dunlop</a:t>
          </a:r>
          <a:endParaRPr lang="en-US" sz="900" kern="1200" dirty="0"/>
        </a:p>
      </dgm:t>
    </dgm:pt>
    <dgm:pt modelId="{33A946CB-810B-4292-955D-3DF60C7CCC01}" type="parTrans" cxnId="{8487FF88-8AF7-4784-B911-F74341B0E40A}">
      <dgm:prSet/>
      <dgm:spPr/>
      <dgm:t>
        <a:bodyPr/>
        <a:lstStyle/>
        <a:p>
          <a:endParaRPr lang="en-US" sz="900"/>
        </a:p>
      </dgm:t>
    </dgm:pt>
    <dgm:pt modelId="{32DB0A79-289B-4BA9-9212-0AFD503BC2FE}" type="sibTrans" cxnId="{8487FF88-8AF7-4784-B911-F74341B0E40A}">
      <dgm:prSet/>
      <dgm:spPr/>
      <dgm:t>
        <a:bodyPr/>
        <a:lstStyle/>
        <a:p>
          <a:endParaRPr lang="en-US" sz="900"/>
        </a:p>
      </dgm:t>
    </dgm:pt>
    <dgm:pt modelId="{0BFE6632-1AB2-41A4-A1CF-679F098C1CE8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/>
            <a:t>Dir Mailing Services</a:t>
          </a:r>
        </a:p>
        <a:p>
          <a:r>
            <a:rPr lang="en-US" sz="900" b="1" dirty="0"/>
            <a:t>Vicki Stephen</a:t>
          </a:r>
        </a:p>
      </dgm:t>
    </dgm:pt>
    <dgm:pt modelId="{DCBB5A56-AC60-4485-9CF7-5DEBB8E7D79E}" type="sibTrans" cxnId="{BF3E4157-32F8-4E4D-AAD4-0542AAD89A89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285AABB-1B9B-4D96-92EB-A1ECC28EC77A}" type="parTrans" cxnId="{BF3E4157-32F8-4E4D-AAD4-0542AAD89A89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111E18F4-EF8B-4472-A2D1-E52F7FB4758B}">
      <dgm:prSet phldrT="[Text]"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/>
            <a:t>Dir Product Technology Innovation</a:t>
          </a:r>
        </a:p>
        <a:p>
          <a:r>
            <a:rPr lang="en-US" sz="900" b="1" dirty="0"/>
            <a:t>Bob Dixon</a:t>
          </a:r>
        </a:p>
      </dgm:t>
    </dgm:pt>
    <dgm:pt modelId="{5A391C39-3151-4BBC-A20E-ACFFA20617ED}" type="sibTrans" cxnId="{010821BD-9140-496C-B874-2845674FAE91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868AF991-4EBE-4263-87F3-E67A2033B966}" type="parTrans" cxnId="{010821BD-9140-496C-B874-2845674FAE91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EF7A7E8A-23FC-442B-B1CC-8BEBC42D64F7}">
      <dgm:prSet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Dir Digital Business Services</a:t>
          </a:r>
        </a:p>
        <a:p>
          <a:r>
            <a:rPr lang="en-US" sz="900" b="1" dirty="0">
              <a:solidFill>
                <a:schemeClr val="bg1"/>
              </a:solidFill>
            </a:rPr>
            <a:t>Jeff Tackes/A</a:t>
          </a:r>
        </a:p>
      </dgm:t>
    </dgm:pt>
    <dgm:pt modelId="{DA1301F0-E93C-4405-8C5D-A09F9A692C93}" type="parTrans" cxnId="{8C978CB8-4C8C-4D56-8510-38026C560D96}">
      <dgm:prSet/>
      <dgm:spPr/>
      <dgm:t>
        <a:bodyPr/>
        <a:lstStyle/>
        <a:p>
          <a:endParaRPr lang="en-US"/>
        </a:p>
      </dgm:t>
    </dgm:pt>
    <dgm:pt modelId="{D8F3876E-1E8A-49F6-8644-7E7CB2E96816}" type="sibTrans" cxnId="{8C978CB8-4C8C-4D56-8510-38026C560D96}">
      <dgm:prSet/>
      <dgm:spPr/>
      <dgm:t>
        <a:bodyPr/>
        <a:lstStyle/>
        <a:p>
          <a:endParaRPr lang="en-US"/>
        </a:p>
      </dgm:t>
    </dgm:pt>
    <dgm:pt modelId="{008A9A80-BD13-446C-833B-2B197FFBA9AB}" type="pres">
      <dgm:prSet presAssocID="{AEB5C877-C77B-47BD-825A-482B3EB5DF5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DF78B51-FF65-46D3-95B4-403BD752DD8A}" type="pres">
      <dgm:prSet presAssocID="{735E0ECF-1473-4459-9782-B3BFD89D844B}" presName="hierRoot1" presStyleCnt="0">
        <dgm:presLayoutVars>
          <dgm:hierBranch val="init"/>
        </dgm:presLayoutVars>
      </dgm:prSet>
      <dgm:spPr/>
    </dgm:pt>
    <dgm:pt modelId="{D1481A51-9A8E-4E3F-ACFE-BBFBAA069003}" type="pres">
      <dgm:prSet presAssocID="{735E0ECF-1473-4459-9782-B3BFD89D844B}" presName="rootComposite1" presStyleCnt="0"/>
      <dgm:spPr/>
    </dgm:pt>
    <dgm:pt modelId="{608CB659-20FB-4FD5-BD59-4EDC1CFD706A}" type="pres">
      <dgm:prSet presAssocID="{735E0ECF-1473-4459-9782-B3BFD89D844B}" presName="rootText1" presStyleLbl="node0" presStyleIdx="0" presStyleCnt="1">
        <dgm:presLayoutVars>
          <dgm:chPref val="3"/>
        </dgm:presLayoutVars>
      </dgm:prSet>
      <dgm:spPr/>
    </dgm:pt>
    <dgm:pt modelId="{663788D1-3B8C-4438-98A1-293F772704C9}" type="pres">
      <dgm:prSet presAssocID="{735E0ECF-1473-4459-9782-B3BFD89D844B}" presName="rootConnector1" presStyleLbl="node1" presStyleIdx="0" presStyleCnt="0"/>
      <dgm:spPr/>
    </dgm:pt>
    <dgm:pt modelId="{B3767120-1D84-4CBF-A42A-7963C47D4D0B}" type="pres">
      <dgm:prSet presAssocID="{735E0ECF-1473-4459-9782-B3BFD89D844B}" presName="hierChild2" presStyleCnt="0"/>
      <dgm:spPr/>
    </dgm:pt>
    <dgm:pt modelId="{AA2C4414-7EF3-4BAE-A19E-E52D628B3FAE}" type="pres">
      <dgm:prSet presAssocID="{93793C77-22A1-4452-AA5B-CD75C3A2088D}" presName="Name37" presStyleLbl="parChTrans1D2" presStyleIdx="0" presStyleCnt="3"/>
      <dgm:spPr/>
    </dgm:pt>
    <dgm:pt modelId="{6387B0E3-D0C5-444F-9B93-1D720208E895}" type="pres">
      <dgm:prSet presAssocID="{5D030A46-7792-4815-B57B-046A07F0140A}" presName="hierRoot2" presStyleCnt="0">
        <dgm:presLayoutVars>
          <dgm:hierBranch val="hang"/>
        </dgm:presLayoutVars>
      </dgm:prSet>
      <dgm:spPr/>
    </dgm:pt>
    <dgm:pt modelId="{12FC5992-2B6A-4B44-9993-4ACF04F605A0}" type="pres">
      <dgm:prSet presAssocID="{5D030A46-7792-4815-B57B-046A07F0140A}" presName="rootComposite" presStyleCnt="0"/>
      <dgm:spPr/>
    </dgm:pt>
    <dgm:pt modelId="{AC5FF851-1189-4F95-8351-A97A476B2246}" type="pres">
      <dgm:prSet presAssocID="{5D030A46-7792-4815-B57B-046A07F0140A}" presName="rootText" presStyleLbl="node2" presStyleIdx="0" presStyleCnt="3">
        <dgm:presLayoutVars>
          <dgm:chPref val="3"/>
        </dgm:presLayoutVars>
      </dgm:prSet>
      <dgm:spPr/>
    </dgm:pt>
    <dgm:pt modelId="{2FD465CE-D641-4F07-9394-155CB7FBF3F3}" type="pres">
      <dgm:prSet presAssocID="{5D030A46-7792-4815-B57B-046A07F0140A}" presName="rootConnector" presStyleLbl="node2" presStyleIdx="0" presStyleCnt="3"/>
      <dgm:spPr/>
    </dgm:pt>
    <dgm:pt modelId="{C59FB238-8008-4F2B-BC0E-E3651B88BA6C}" type="pres">
      <dgm:prSet presAssocID="{5D030A46-7792-4815-B57B-046A07F0140A}" presName="hierChild4" presStyleCnt="0"/>
      <dgm:spPr/>
    </dgm:pt>
    <dgm:pt modelId="{6C54FE7E-1514-4596-B8CE-BCE54D5A582E}" type="pres">
      <dgm:prSet presAssocID="{9F1142D6-E2EB-4B62-9657-E1BFD7D3F930}" presName="Name48" presStyleLbl="parChTrans1D3" presStyleIdx="0" presStyleCnt="14"/>
      <dgm:spPr/>
    </dgm:pt>
    <dgm:pt modelId="{7D945FEB-5361-4AD6-B303-4D1323345AFD}" type="pres">
      <dgm:prSet presAssocID="{EB027484-7CEA-4CBE-BF58-C09DD2571399}" presName="hierRoot2" presStyleCnt="0">
        <dgm:presLayoutVars>
          <dgm:hierBranch val="hang"/>
        </dgm:presLayoutVars>
      </dgm:prSet>
      <dgm:spPr/>
    </dgm:pt>
    <dgm:pt modelId="{91AB74F7-9E90-4010-8B4C-0DCFF9C74B1D}" type="pres">
      <dgm:prSet presAssocID="{EB027484-7CEA-4CBE-BF58-C09DD2571399}" presName="rootComposite" presStyleCnt="0"/>
      <dgm:spPr/>
    </dgm:pt>
    <dgm:pt modelId="{857E5E5B-C52C-4438-9D5D-D1C33F85DC46}" type="pres">
      <dgm:prSet presAssocID="{EB027484-7CEA-4CBE-BF58-C09DD2571399}" presName="rootText" presStyleLbl="node3" presStyleIdx="0" presStyleCnt="14" custLinFactNeighborX="850" custLinFactNeighborY="1014">
        <dgm:presLayoutVars>
          <dgm:chPref val="3"/>
        </dgm:presLayoutVars>
      </dgm:prSet>
      <dgm:spPr/>
    </dgm:pt>
    <dgm:pt modelId="{116439AF-00EB-4779-BBCF-EF4570381522}" type="pres">
      <dgm:prSet presAssocID="{EB027484-7CEA-4CBE-BF58-C09DD2571399}" presName="rootConnector" presStyleLbl="node3" presStyleIdx="0" presStyleCnt="14"/>
      <dgm:spPr/>
    </dgm:pt>
    <dgm:pt modelId="{B26C6A3D-750B-4C7E-86F3-4CA28EA85EAB}" type="pres">
      <dgm:prSet presAssocID="{EB027484-7CEA-4CBE-BF58-C09DD2571399}" presName="hierChild4" presStyleCnt="0"/>
      <dgm:spPr/>
    </dgm:pt>
    <dgm:pt modelId="{5D7DF315-D2F7-466C-B680-AD076590EABC}" type="pres">
      <dgm:prSet presAssocID="{EB027484-7CEA-4CBE-BF58-C09DD2571399}" presName="hierChild5" presStyleCnt="0"/>
      <dgm:spPr/>
    </dgm:pt>
    <dgm:pt modelId="{DC8B994C-FFB3-4EA3-9D85-F30443BCB270}" type="pres">
      <dgm:prSet presAssocID="{2B5C111A-46A9-4164-9BED-60CE7D0DEFD1}" presName="Name48" presStyleLbl="parChTrans1D3" presStyleIdx="1" presStyleCnt="14"/>
      <dgm:spPr/>
    </dgm:pt>
    <dgm:pt modelId="{A6B72F75-1778-48C5-A7E9-D7A3B9D90F78}" type="pres">
      <dgm:prSet presAssocID="{3F407392-4167-4C51-A077-D7329DB2CED1}" presName="hierRoot2" presStyleCnt="0">
        <dgm:presLayoutVars>
          <dgm:hierBranch val="hang"/>
        </dgm:presLayoutVars>
      </dgm:prSet>
      <dgm:spPr/>
    </dgm:pt>
    <dgm:pt modelId="{1E726FA3-AA1F-4DCD-A8E2-057242DC7FA1}" type="pres">
      <dgm:prSet presAssocID="{3F407392-4167-4C51-A077-D7329DB2CED1}" presName="rootComposite" presStyleCnt="0"/>
      <dgm:spPr/>
    </dgm:pt>
    <dgm:pt modelId="{36764980-1D1F-4C31-B763-CBCF535AD06A}" type="pres">
      <dgm:prSet presAssocID="{3F407392-4167-4C51-A077-D7329DB2CED1}" presName="rootText" presStyleLbl="node3" presStyleIdx="1" presStyleCnt="14" custLinFactNeighborX="1223" custLinFactNeighborY="1014">
        <dgm:presLayoutVars>
          <dgm:chPref val="3"/>
        </dgm:presLayoutVars>
      </dgm:prSet>
      <dgm:spPr/>
    </dgm:pt>
    <dgm:pt modelId="{7530D462-01FB-4E6D-9118-B2167C4604DC}" type="pres">
      <dgm:prSet presAssocID="{3F407392-4167-4C51-A077-D7329DB2CED1}" presName="rootConnector" presStyleLbl="node3" presStyleIdx="1" presStyleCnt="14"/>
      <dgm:spPr/>
    </dgm:pt>
    <dgm:pt modelId="{4AB6EF25-E66F-46AD-95C6-385EADF81F8B}" type="pres">
      <dgm:prSet presAssocID="{3F407392-4167-4C51-A077-D7329DB2CED1}" presName="hierChild4" presStyleCnt="0"/>
      <dgm:spPr/>
    </dgm:pt>
    <dgm:pt modelId="{5DF0331A-8663-4F66-8867-F68E8D34C331}" type="pres">
      <dgm:prSet presAssocID="{3F407392-4167-4C51-A077-D7329DB2CED1}" presName="hierChild5" presStyleCnt="0"/>
      <dgm:spPr/>
    </dgm:pt>
    <dgm:pt modelId="{C795F404-0DA7-405E-81AE-25EEDEC41780}" type="pres">
      <dgm:prSet presAssocID="{33A946CB-810B-4292-955D-3DF60C7CCC01}" presName="Name48" presStyleLbl="parChTrans1D3" presStyleIdx="2" presStyleCnt="14"/>
      <dgm:spPr/>
    </dgm:pt>
    <dgm:pt modelId="{AD200E74-53F1-4DB5-A570-0CC6F572A8D1}" type="pres">
      <dgm:prSet presAssocID="{55D3AE3F-3FF9-459E-AA41-4FFD3A4B530A}" presName="hierRoot2" presStyleCnt="0">
        <dgm:presLayoutVars>
          <dgm:hierBranch val="init"/>
        </dgm:presLayoutVars>
      </dgm:prSet>
      <dgm:spPr/>
    </dgm:pt>
    <dgm:pt modelId="{163ED4A3-4445-4E21-A75C-652C052FCCD5}" type="pres">
      <dgm:prSet presAssocID="{55D3AE3F-3FF9-459E-AA41-4FFD3A4B530A}" presName="rootComposite" presStyleCnt="0"/>
      <dgm:spPr/>
    </dgm:pt>
    <dgm:pt modelId="{F721A2C3-B74E-4B93-9D96-D10D55204BB2}" type="pres">
      <dgm:prSet presAssocID="{55D3AE3F-3FF9-459E-AA41-4FFD3A4B530A}" presName="rootText" presStyleLbl="node3" presStyleIdx="2" presStyleCnt="14">
        <dgm:presLayoutVars>
          <dgm:chPref val="3"/>
        </dgm:presLayoutVars>
      </dgm:prSet>
      <dgm:spPr>
        <a:xfrm>
          <a:off x="330" y="3268512"/>
          <a:ext cx="1271062" cy="635531"/>
        </a:xfrm>
        <a:prstGeom prst="rect">
          <a:avLst/>
        </a:prstGeom>
      </dgm:spPr>
    </dgm:pt>
    <dgm:pt modelId="{84E38710-D049-4F4F-A352-B9C5CABE829D}" type="pres">
      <dgm:prSet presAssocID="{55D3AE3F-3FF9-459E-AA41-4FFD3A4B530A}" presName="rootConnector" presStyleLbl="node3" presStyleIdx="2" presStyleCnt="14"/>
      <dgm:spPr/>
    </dgm:pt>
    <dgm:pt modelId="{BC99E0E4-716F-410A-8A0F-C2B90704E717}" type="pres">
      <dgm:prSet presAssocID="{55D3AE3F-3FF9-459E-AA41-4FFD3A4B530A}" presName="hierChild4" presStyleCnt="0"/>
      <dgm:spPr/>
    </dgm:pt>
    <dgm:pt modelId="{2FF64663-7584-420A-AF91-2063BCE1A82C}" type="pres">
      <dgm:prSet presAssocID="{55D3AE3F-3FF9-459E-AA41-4FFD3A4B530A}" presName="hierChild5" presStyleCnt="0"/>
      <dgm:spPr/>
    </dgm:pt>
    <dgm:pt modelId="{935CF41C-8E65-4556-B698-9DE0FA9D7114}" type="pres">
      <dgm:prSet presAssocID="{A097BC90-7C7B-4417-B541-121A504AFDFB}" presName="Name48" presStyleLbl="parChTrans1D3" presStyleIdx="3" presStyleCnt="14"/>
      <dgm:spPr/>
    </dgm:pt>
    <dgm:pt modelId="{E170CA6D-23B4-4844-8B47-FDBAC718FE09}" type="pres">
      <dgm:prSet presAssocID="{16816A87-973E-4B4F-A654-1165D3D6BD11}" presName="hierRoot2" presStyleCnt="0">
        <dgm:presLayoutVars>
          <dgm:hierBranch val="init"/>
        </dgm:presLayoutVars>
      </dgm:prSet>
      <dgm:spPr/>
    </dgm:pt>
    <dgm:pt modelId="{CE9D54DE-C7E8-4197-B154-F698EE1726B3}" type="pres">
      <dgm:prSet presAssocID="{16816A87-973E-4B4F-A654-1165D3D6BD11}" presName="rootComposite" presStyleCnt="0"/>
      <dgm:spPr/>
    </dgm:pt>
    <dgm:pt modelId="{0B3673FB-5A00-41D7-A466-568C6A22B051}" type="pres">
      <dgm:prSet presAssocID="{16816A87-973E-4B4F-A654-1165D3D6BD11}" presName="rootText" presStyleLbl="node3" presStyleIdx="3" presStyleCnt="14">
        <dgm:presLayoutVars>
          <dgm:chPref val="3"/>
        </dgm:presLayoutVars>
      </dgm:prSet>
      <dgm:spPr/>
    </dgm:pt>
    <dgm:pt modelId="{15DD8594-E37B-44FE-84D2-9389401D1F5C}" type="pres">
      <dgm:prSet presAssocID="{16816A87-973E-4B4F-A654-1165D3D6BD11}" presName="rootConnector" presStyleLbl="node3" presStyleIdx="3" presStyleCnt="14"/>
      <dgm:spPr/>
    </dgm:pt>
    <dgm:pt modelId="{D2DFC9FD-93CF-4229-8EFC-B6E3F7A1E748}" type="pres">
      <dgm:prSet presAssocID="{16816A87-973E-4B4F-A654-1165D3D6BD11}" presName="hierChild4" presStyleCnt="0"/>
      <dgm:spPr/>
    </dgm:pt>
    <dgm:pt modelId="{2A8B32EE-D2E6-40BE-A5FA-1E15F9C6B7C6}" type="pres">
      <dgm:prSet presAssocID="{16816A87-973E-4B4F-A654-1165D3D6BD11}" presName="hierChild5" presStyleCnt="0"/>
      <dgm:spPr/>
    </dgm:pt>
    <dgm:pt modelId="{42228D22-AB2C-4818-946A-805E3D87E56C}" type="pres">
      <dgm:prSet presAssocID="{5AA235E6-8A4F-4D6A-81B1-691C8B486EDE}" presName="Name48" presStyleLbl="parChTrans1D3" presStyleIdx="4" presStyleCnt="14"/>
      <dgm:spPr/>
    </dgm:pt>
    <dgm:pt modelId="{0AEC7CC6-126C-4828-811E-FD011492A4F5}" type="pres">
      <dgm:prSet presAssocID="{735612C9-9748-445A-8901-0517F5E97322}" presName="hierRoot2" presStyleCnt="0">
        <dgm:presLayoutVars>
          <dgm:hierBranch val="hang"/>
        </dgm:presLayoutVars>
      </dgm:prSet>
      <dgm:spPr/>
    </dgm:pt>
    <dgm:pt modelId="{0A79E047-91A7-45F0-A3D2-A02EFB655E37}" type="pres">
      <dgm:prSet presAssocID="{735612C9-9748-445A-8901-0517F5E97322}" presName="rootComposite" presStyleCnt="0"/>
      <dgm:spPr/>
    </dgm:pt>
    <dgm:pt modelId="{89953E0F-E104-42A0-9060-1313CAEAD95B}" type="pres">
      <dgm:prSet presAssocID="{735612C9-9748-445A-8901-0517F5E97322}" presName="rootText" presStyleLbl="node3" presStyleIdx="4" presStyleCnt="14" custLinFactNeighborX="1223" custLinFactNeighborY="1014">
        <dgm:presLayoutVars>
          <dgm:chPref val="3"/>
        </dgm:presLayoutVars>
      </dgm:prSet>
      <dgm:spPr/>
    </dgm:pt>
    <dgm:pt modelId="{933633F6-70B5-44A4-B5E1-C1D16DD871E4}" type="pres">
      <dgm:prSet presAssocID="{735612C9-9748-445A-8901-0517F5E97322}" presName="rootConnector" presStyleLbl="node3" presStyleIdx="4" presStyleCnt="14"/>
      <dgm:spPr/>
    </dgm:pt>
    <dgm:pt modelId="{A93FC3F0-3655-430F-B897-E27C4F22491A}" type="pres">
      <dgm:prSet presAssocID="{735612C9-9748-445A-8901-0517F5E97322}" presName="hierChild4" presStyleCnt="0"/>
      <dgm:spPr/>
    </dgm:pt>
    <dgm:pt modelId="{4B7E7497-7A5D-426F-A411-3BE809B98BE8}" type="pres">
      <dgm:prSet presAssocID="{735612C9-9748-445A-8901-0517F5E97322}" presName="hierChild5" presStyleCnt="0"/>
      <dgm:spPr/>
    </dgm:pt>
    <dgm:pt modelId="{8349AF55-683F-4F61-A046-C0C13CC76D05}" type="pres">
      <dgm:prSet presAssocID="{5D030A46-7792-4815-B57B-046A07F0140A}" presName="hierChild5" presStyleCnt="0"/>
      <dgm:spPr/>
    </dgm:pt>
    <dgm:pt modelId="{2D62CCC2-632D-47CD-A6FB-AF9328D9C4C3}" type="pres">
      <dgm:prSet presAssocID="{C596D3E0-CF1C-4186-873C-266C0BDDA405}" presName="Name37" presStyleLbl="parChTrans1D2" presStyleIdx="1" presStyleCnt="3"/>
      <dgm:spPr/>
    </dgm:pt>
    <dgm:pt modelId="{DFA3A91B-E297-4234-BFEC-E07215C4A4F0}" type="pres">
      <dgm:prSet presAssocID="{C4171510-A219-4D73-ABD0-9340201AB08B}" presName="hierRoot2" presStyleCnt="0">
        <dgm:presLayoutVars>
          <dgm:hierBranch val="hang"/>
        </dgm:presLayoutVars>
      </dgm:prSet>
      <dgm:spPr/>
    </dgm:pt>
    <dgm:pt modelId="{09E9B259-37C6-4DAC-B977-55FDCFAE76AB}" type="pres">
      <dgm:prSet presAssocID="{C4171510-A219-4D73-ABD0-9340201AB08B}" presName="rootComposite" presStyleCnt="0"/>
      <dgm:spPr/>
    </dgm:pt>
    <dgm:pt modelId="{43FE5B09-28AC-4B39-BFE9-1C78BB5E9846}" type="pres">
      <dgm:prSet presAssocID="{C4171510-A219-4D73-ABD0-9340201AB08B}" presName="rootText" presStyleLbl="node2" presStyleIdx="1" presStyleCnt="3">
        <dgm:presLayoutVars>
          <dgm:chPref val="3"/>
        </dgm:presLayoutVars>
      </dgm:prSet>
      <dgm:spPr/>
    </dgm:pt>
    <dgm:pt modelId="{71D9930B-3E8E-46AF-9F9D-50C9E28A14EA}" type="pres">
      <dgm:prSet presAssocID="{C4171510-A219-4D73-ABD0-9340201AB08B}" presName="rootConnector" presStyleLbl="node2" presStyleIdx="1" presStyleCnt="3"/>
      <dgm:spPr/>
    </dgm:pt>
    <dgm:pt modelId="{CE602C07-2778-4BEB-9377-8EF46EEC3364}" type="pres">
      <dgm:prSet presAssocID="{C4171510-A219-4D73-ABD0-9340201AB08B}" presName="hierChild4" presStyleCnt="0"/>
      <dgm:spPr/>
    </dgm:pt>
    <dgm:pt modelId="{F3A6A1AF-C065-491A-9B9F-6AC6C886A573}" type="pres">
      <dgm:prSet presAssocID="{D31CC421-290B-41DD-B006-DFB813BBC81E}" presName="Name48" presStyleLbl="parChTrans1D3" presStyleIdx="5" presStyleCnt="14"/>
      <dgm:spPr/>
    </dgm:pt>
    <dgm:pt modelId="{5AD9586A-22ED-482B-AB10-96CE9308A8D1}" type="pres">
      <dgm:prSet presAssocID="{A3996FD5-4B24-43FC-9B73-EB82E12E15BD}" presName="hierRoot2" presStyleCnt="0">
        <dgm:presLayoutVars>
          <dgm:hierBranch val="hang"/>
        </dgm:presLayoutVars>
      </dgm:prSet>
      <dgm:spPr/>
    </dgm:pt>
    <dgm:pt modelId="{BC401DEC-D9EE-4A52-A4BF-CD5CF4CE95EB}" type="pres">
      <dgm:prSet presAssocID="{A3996FD5-4B24-43FC-9B73-EB82E12E15BD}" presName="rootComposite" presStyleCnt="0"/>
      <dgm:spPr/>
    </dgm:pt>
    <dgm:pt modelId="{A8A43A45-90AB-4F0B-9084-0D14C71D65E1}" type="pres">
      <dgm:prSet presAssocID="{A3996FD5-4B24-43FC-9B73-EB82E12E15BD}" presName="rootText" presStyleLbl="node3" presStyleIdx="5" presStyleCnt="14" custLinFactNeighborX="1223" custLinFactNeighborY="1014">
        <dgm:presLayoutVars>
          <dgm:chPref val="3"/>
        </dgm:presLayoutVars>
      </dgm:prSet>
      <dgm:spPr/>
    </dgm:pt>
    <dgm:pt modelId="{2C183873-6D40-4E8A-85C6-17B11FDDE65A}" type="pres">
      <dgm:prSet presAssocID="{A3996FD5-4B24-43FC-9B73-EB82E12E15BD}" presName="rootConnector" presStyleLbl="node3" presStyleIdx="5" presStyleCnt="14"/>
      <dgm:spPr/>
    </dgm:pt>
    <dgm:pt modelId="{5021666D-94CC-42EC-8201-FC8D1D0E328B}" type="pres">
      <dgm:prSet presAssocID="{A3996FD5-4B24-43FC-9B73-EB82E12E15BD}" presName="hierChild4" presStyleCnt="0"/>
      <dgm:spPr/>
    </dgm:pt>
    <dgm:pt modelId="{98B6BC08-FD7A-4592-83DE-B656F5E44A89}" type="pres">
      <dgm:prSet presAssocID="{A3996FD5-4B24-43FC-9B73-EB82E12E15BD}" presName="hierChild5" presStyleCnt="0"/>
      <dgm:spPr/>
    </dgm:pt>
    <dgm:pt modelId="{4C203ED4-6493-487D-88B2-D43CA89A714C}" type="pres">
      <dgm:prSet presAssocID="{F7724F3E-23A6-4AE0-9E34-B131A4643726}" presName="Name48" presStyleLbl="parChTrans1D3" presStyleIdx="6" presStyleCnt="14"/>
      <dgm:spPr/>
    </dgm:pt>
    <dgm:pt modelId="{009DFB59-F6FC-441E-A568-A553B94CC9C6}" type="pres">
      <dgm:prSet presAssocID="{B35741F1-64E8-425C-8768-F1973D6B9FCD}" presName="hierRoot2" presStyleCnt="0">
        <dgm:presLayoutVars>
          <dgm:hierBranch val="hang"/>
        </dgm:presLayoutVars>
      </dgm:prSet>
      <dgm:spPr/>
    </dgm:pt>
    <dgm:pt modelId="{E8118F91-3129-4A17-BAF4-8FEB49368EE0}" type="pres">
      <dgm:prSet presAssocID="{B35741F1-64E8-425C-8768-F1973D6B9FCD}" presName="rootComposite" presStyleCnt="0"/>
      <dgm:spPr/>
    </dgm:pt>
    <dgm:pt modelId="{18F5216A-D74D-45D9-8EB3-3C45223454C9}" type="pres">
      <dgm:prSet presAssocID="{B35741F1-64E8-425C-8768-F1973D6B9FCD}" presName="rootText" presStyleLbl="node3" presStyleIdx="6" presStyleCnt="14" custLinFactNeighborX="1223" custLinFactNeighborY="1014">
        <dgm:presLayoutVars>
          <dgm:chPref val="3"/>
        </dgm:presLayoutVars>
      </dgm:prSet>
      <dgm:spPr/>
    </dgm:pt>
    <dgm:pt modelId="{5F232BDD-EEA6-4F5D-A6CC-275A9E5D3873}" type="pres">
      <dgm:prSet presAssocID="{B35741F1-64E8-425C-8768-F1973D6B9FCD}" presName="rootConnector" presStyleLbl="node3" presStyleIdx="6" presStyleCnt="14"/>
      <dgm:spPr/>
    </dgm:pt>
    <dgm:pt modelId="{A3B50B12-D250-49E7-A2FA-7E84645D48B9}" type="pres">
      <dgm:prSet presAssocID="{B35741F1-64E8-425C-8768-F1973D6B9FCD}" presName="hierChild4" presStyleCnt="0"/>
      <dgm:spPr/>
    </dgm:pt>
    <dgm:pt modelId="{75B866EA-8F3B-4F0C-AC85-B5DDD3C05A5B}" type="pres">
      <dgm:prSet presAssocID="{B35741F1-64E8-425C-8768-F1973D6B9FCD}" presName="hierChild5" presStyleCnt="0"/>
      <dgm:spPr/>
    </dgm:pt>
    <dgm:pt modelId="{6BE74CAF-23C6-4A5D-A858-3A2C21F0676F}" type="pres">
      <dgm:prSet presAssocID="{B3DF8B2E-F63B-4C81-B13E-ACAE6BECD028}" presName="Name48" presStyleLbl="parChTrans1D3" presStyleIdx="7" presStyleCnt="14"/>
      <dgm:spPr/>
    </dgm:pt>
    <dgm:pt modelId="{E1E7F1FE-AED2-46BA-B0AC-9AA98902DDA6}" type="pres">
      <dgm:prSet presAssocID="{EF0A4041-6C46-4B93-AC8F-400BFAEA32CE}" presName="hierRoot2" presStyleCnt="0">
        <dgm:presLayoutVars>
          <dgm:hierBranch val="hang"/>
        </dgm:presLayoutVars>
      </dgm:prSet>
      <dgm:spPr/>
    </dgm:pt>
    <dgm:pt modelId="{F7677E96-9016-46F8-A187-0A9136AC6B62}" type="pres">
      <dgm:prSet presAssocID="{EF0A4041-6C46-4B93-AC8F-400BFAEA32CE}" presName="rootComposite" presStyleCnt="0"/>
      <dgm:spPr/>
    </dgm:pt>
    <dgm:pt modelId="{427A19DC-BCE0-44E5-BFEE-E56D90F4D79D}" type="pres">
      <dgm:prSet presAssocID="{EF0A4041-6C46-4B93-AC8F-400BFAEA32CE}" presName="rootText" presStyleLbl="node3" presStyleIdx="7" presStyleCnt="14" custLinFactNeighborX="1223" custLinFactNeighborY="1014">
        <dgm:presLayoutVars>
          <dgm:chPref val="3"/>
        </dgm:presLayoutVars>
      </dgm:prSet>
      <dgm:spPr/>
    </dgm:pt>
    <dgm:pt modelId="{3A4B4255-6EBC-4DB4-B121-4EA590078506}" type="pres">
      <dgm:prSet presAssocID="{EF0A4041-6C46-4B93-AC8F-400BFAEA32CE}" presName="rootConnector" presStyleLbl="node3" presStyleIdx="7" presStyleCnt="14"/>
      <dgm:spPr/>
    </dgm:pt>
    <dgm:pt modelId="{47C0A63B-F66A-4F6E-B16C-5F20B0CEF754}" type="pres">
      <dgm:prSet presAssocID="{EF0A4041-6C46-4B93-AC8F-400BFAEA32CE}" presName="hierChild4" presStyleCnt="0"/>
      <dgm:spPr/>
    </dgm:pt>
    <dgm:pt modelId="{A9169E22-EB94-4EB9-A078-40FD62E86719}" type="pres">
      <dgm:prSet presAssocID="{EF0A4041-6C46-4B93-AC8F-400BFAEA32CE}" presName="hierChild5" presStyleCnt="0"/>
      <dgm:spPr/>
    </dgm:pt>
    <dgm:pt modelId="{A4260DFB-585E-4A73-816C-F9AEEDDA9394}" type="pres">
      <dgm:prSet presAssocID="{C2BCB542-154D-41AA-BC2F-0175A751E962}" presName="Name48" presStyleLbl="parChTrans1D3" presStyleIdx="8" presStyleCnt="14"/>
      <dgm:spPr/>
    </dgm:pt>
    <dgm:pt modelId="{65359CC4-1199-40A6-9A5D-E339CCE06195}" type="pres">
      <dgm:prSet presAssocID="{A4BA30C2-EE2A-4C06-9F5B-E5D4035B17CC}" presName="hierRoot2" presStyleCnt="0">
        <dgm:presLayoutVars>
          <dgm:hierBranch val="hang"/>
        </dgm:presLayoutVars>
      </dgm:prSet>
      <dgm:spPr/>
    </dgm:pt>
    <dgm:pt modelId="{685BD7F1-E41B-4D8B-83BF-47C6EAEA87D0}" type="pres">
      <dgm:prSet presAssocID="{A4BA30C2-EE2A-4C06-9F5B-E5D4035B17CC}" presName="rootComposite" presStyleCnt="0"/>
      <dgm:spPr/>
    </dgm:pt>
    <dgm:pt modelId="{93931096-6600-46C3-98DA-74AC02AC0B71}" type="pres">
      <dgm:prSet presAssocID="{A4BA30C2-EE2A-4C06-9F5B-E5D4035B17CC}" presName="rootText" presStyleLbl="node3" presStyleIdx="8" presStyleCnt="14" custLinFactNeighborX="1223" custLinFactNeighborY="1014">
        <dgm:presLayoutVars>
          <dgm:chPref val="3"/>
        </dgm:presLayoutVars>
      </dgm:prSet>
      <dgm:spPr/>
    </dgm:pt>
    <dgm:pt modelId="{FCDEEE3A-FB67-4F1F-BECE-E1F592365CFC}" type="pres">
      <dgm:prSet presAssocID="{A4BA30C2-EE2A-4C06-9F5B-E5D4035B17CC}" presName="rootConnector" presStyleLbl="node3" presStyleIdx="8" presStyleCnt="14"/>
      <dgm:spPr/>
    </dgm:pt>
    <dgm:pt modelId="{02632E63-6953-4BBB-9358-D0D0A0F62BB7}" type="pres">
      <dgm:prSet presAssocID="{A4BA30C2-EE2A-4C06-9F5B-E5D4035B17CC}" presName="hierChild4" presStyleCnt="0"/>
      <dgm:spPr/>
    </dgm:pt>
    <dgm:pt modelId="{6356888D-CFDB-4DAB-958C-0207B0E8E05F}" type="pres">
      <dgm:prSet presAssocID="{A4BA30C2-EE2A-4C06-9F5B-E5D4035B17CC}" presName="hierChild5" presStyleCnt="0"/>
      <dgm:spPr/>
    </dgm:pt>
    <dgm:pt modelId="{5BC729F7-A32A-4515-A574-DFBC30FDA19B}" type="pres">
      <dgm:prSet presAssocID="{C4171510-A219-4D73-ABD0-9340201AB08B}" presName="hierChild5" presStyleCnt="0"/>
      <dgm:spPr/>
    </dgm:pt>
    <dgm:pt modelId="{04B36B14-FDED-4614-BB74-97EE5BB8F52D}" type="pres">
      <dgm:prSet presAssocID="{DD5605C9-86D4-46AB-815E-97791D76E890}" presName="Name37" presStyleLbl="parChTrans1D2" presStyleIdx="2" presStyleCnt="3"/>
      <dgm:spPr/>
    </dgm:pt>
    <dgm:pt modelId="{106AC147-102C-49EA-AA5F-EF5284021786}" type="pres">
      <dgm:prSet presAssocID="{25AF2A20-742B-4B54-82EE-1A36C3C1A1C1}" presName="hierRoot2" presStyleCnt="0">
        <dgm:presLayoutVars>
          <dgm:hierBranch val="hang"/>
        </dgm:presLayoutVars>
      </dgm:prSet>
      <dgm:spPr/>
    </dgm:pt>
    <dgm:pt modelId="{A185BBF1-A3C4-4167-BD2D-01117B8865F1}" type="pres">
      <dgm:prSet presAssocID="{25AF2A20-742B-4B54-82EE-1A36C3C1A1C1}" presName="rootComposite" presStyleCnt="0"/>
      <dgm:spPr/>
    </dgm:pt>
    <dgm:pt modelId="{6F5EABE9-ADCF-4968-81B3-04689CB922B9}" type="pres">
      <dgm:prSet presAssocID="{25AF2A20-742B-4B54-82EE-1A36C3C1A1C1}" presName="rootText" presStyleLbl="node2" presStyleIdx="2" presStyleCnt="3">
        <dgm:presLayoutVars>
          <dgm:chPref val="3"/>
        </dgm:presLayoutVars>
      </dgm:prSet>
      <dgm:spPr/>
    </dgm:pt>
    <dgm:pt modelId="{492EE907-4099-4D6E-8EF8-4A500681DBF1}" type="pres">
      <dgm:prSet presAssocID="{25AF2A20-742B-4B54-82EE-1A36C3C1A1C1}" presName="rootConnector" presStyleLbl="node2" presStyleIdx="2" presStyleCnt="3"/>
      <dgm:spPr/>
    </dgm:pt>
    <dgm:pt modelId="{604BD7F7-0389-4ECB-B419-E102FB55CEAC}" type="pres">
      <dgm:prSet presAssocID="{25AF2A20-742B-4B54-82EE-1A36C3C1A1C1}" presName="hierChild4" presStyleCnt="0"/>
      <dgm:spPr/>
    </dgm:pt>
    <dgm:pt modelId="{900AFB7F-2B1C-4F2F-90FD-534B3C5D185A}" type="pres">
      <dgm:prSet presAssocID="{868AF991-4EBE-4263-87F3-E67A2033B966}" presName="Name48" presStyleLbl="parChTrans1D3" presStyleIdx="9" presStyleCnt="14"/>
      <dgm:spPr/>
    </dgm:pt>
    <dgm:pt modelId="{D2CE9645-9167-4CA8-9FAC-E5772265F1F1}" type="pres">
      <dgm:prSet presAssocID="{111E18F4-EF8B-4472-A2D1-E52F7FB4758B}" presName="hierRoot2" presStyleCnt="0">
        <dgm:presLayoutVars>
          <dgm:hierBranch val="hang"/>
        </dgm:presLayoutVars>
      </dgm:prSet>
      <dgm:spPr/>
    </dgm:pt>
    <dgm:pt modelId="{C62351E5-F559-42B9-866D-4EA52F6E0AC4}" type="pres">
      <dgm:prSet presAssocID="{111E18F4-EF8B-4472-A2D1-E52F7FB4758B}" presName="rootComposite" presStyleCnt="0"/>
      <dgm:spPr/>
    </dgm:pt>
    <dgm:pt modelId="{7F2C8B3F-CC73-4AF4-B493-142FDFBE4550}" type="pres">
      <dgm:prSet presAssocID="{111E18F4-EF8B-4472-A2D1-E52F7FB4758B}" presName="rootText" presStyleLbl="node3" presStyleIdx="9" presStyleCnt="14" custLinFactNeighborX="1223" custLinFactNeighborY="1014">
        <dgm:presLayoutVars>
          <dgm:chPref val="3"/>
        </dgm:presLayoutVars>
      </dgm:prSet>
      <dgm:spPr/>
    </dgm:pt>
    <dgm:pt modelId="{91F4DFD6-08F3-4398-8E0A-317B7ABFFAC4}" type="pres">
      <dgm:prSet presAssocID="{111E18F4-EF8B-4472-A2D1-E52F7FB4758B}" presName="rootConnector" presStyleLbl="node3" presStyleIdx="9" presStyleCnt="14"/>
      <dgm:spPr/>
    </dgm:pt>
    <dgm:pt modelId="{5A4AA5E7-9412-4F52-B3B0-D34C8376690E}" type="pres">
      <dgm:prSet presAssocID="{111E18F4-EF8B-4472-A2D1-E52F7FB4758B}" presName="hierChild4" presStyleCnt="0"/>
      <dgm:spPr/>
    </dgm:pt>
    <dgm:pt modelId="{56D83448-7242-4F44-A164-1F2F2EA1B593}" type="pres">
      <dgm:prSet presAssocID="{111E18F4-EF8B-4472-A2D1-E52F7FB4758B}" presName="hierChild5" presStyleCnt="0"/>
      <dgm:spPr/>
    </dgm:pt>
    <dgm:pt modelId="{780BE9DB-483E-4D39-959E-0895D44A0731}" type="pres">
      <dgm:prSet presAssocID="{2285AABB-1B9B-4D96-92EB-A1ECC28EC77A}" presName="Name48" presStyleLbl="parChTrans1D3" presStyleIdx="10" presStyleCnt="14"/>
      <dgm:spPr/>
    </dgm:pt>
    <dgm:pt modelId="{460E50AD-5371-4F35-81B3-87C773ED6693}" type="pres">
      <dgm:prSet presAssocID="{0BFE6632-1AB2-41A4-A1CF-679F098C1CE8}" presName="hierRoot2" presStyleCnt="0">
        <dgm:presLayoutVars>
          <dgm:hierBranch val="hang"/>
        </dgm:presLayoutVars>
      </dgm:prSet>
      <dgm:spPr/>
    </dgm:pt>
    <dgm:pt modelId="{D9F28B0D-1A61-48BA-B550-A33256A06117}" type="pres">
      <dgm:prSet presAssocID="{0BFE6632-1AB2-41A4-A1CF-679F098C1CE8}" presName="rootComposite" presStyleCnt="0"/>
      <dgm:spPr/>
    </dgm:pt>
    <dgm:pt modelId="{A3E4031B-8BAB-4B77-A326-269F825A8EE1}" type="pres">
      <dgm:prSet presAssocID="{0BFE6632-1AB2-41A4-A1CF-679F098C1CE8}" presName="rootText" presStyleLbl="node3" presStyleIdx="10" presStyleCnt="14" custLinFactNeighborX="1223" custLinFactNeighborY="1014">
        <dgm:presLayoutVars>
          <dgm:chPref val="3"/>
        </dgm:presLayoutVars>
      </dgm:prSet>
      <dgm:spPr/>
    </dgm:pt>
    <dgm:pt modelId="{B9C07A85-7AF3-4DDB-BED5-54AAA28C4482}" type="pres">
      <dgm:prSet presAssocID="{0BFE6632-1AB2-41A4-A1CF-679F098C1CE8}" presName="rootConnector" presStyleLbl="node3" presStyleIdx="10" presStyleCnt="14"/>
      <dgm:spPr/>
    </dgm:pt>
    <dgm:pt modelId="{07BC0911-8342-4145-9032-C569E224ADCB}" type="pres">
      <dgm:prSet presAssocID="{0BFE6632-1AB2-41A4-A1CF-679F098C1CE8}" presName="hierChild4" presStyleCnt="0"/>
      <dgm:spPr/>
    </dgm:pt>
    <dgm:pt modelId="{0667F164-DD16-4F5D-93FD-59C74A5582C8}" type="pres">
      <dgm:prSet presAssocID="{0BFE6632-1AB2-41A4-A1CF-679F098C1CE8}" presName="hierChild5" presStyleCnt="0"/>
      <dgm:spPr/>
    </dgm:pt>
    <dgm:pt modelId="{2DC61ABF-E910-4668-AC4D-DCE4666050B7}" type="pres">
      <dgm:prSet presAssocID="{DA1301F0-E93C-4405-8C5D-A09F9A692C93}" presName="Name48" presStyleLbl="parChTrans1D3" presStyleIdx="11" presStyleCnt="14"/>
      <dgm:spPr/>
    </dgm:pt>
    <dgm:pt modelId="{3454CB2C-D682-4DEB-A40B-3AEEDD28A417}" type="pres">
      <dgm:prSet presAssocID="{EF7A7E8A-23FC-442B-B1CC-8BEBC42D64F7}" presName="hierRoot2" presStyleCnt="0">
        <dgm:presLayoutVars>
          <dgm:hierBranch val="init"/>
        </dgm:presLayoutVars>
      </dgm:prSet>
      <dgm:spPr/>
    </dgm:pt>
    <dgm:pt modelId="{A95599C7-0F16-49D6-A9DD-F40939777744}" type="pres">
      <dgm:prSet presAssocID="{EF7A7E8A-23FC-442B-B1CC-8BEBC42D64F7}" presName="rootComposite" presStyleCnt="0"/>
      <dgm:spPr/>
    </dgm:pt>
    <dgm:pt modelId="{0EBD0C9E-C5E6-406F-9F73-CA840D3FE333}" type="pres">
      <dgm:prSet presAssocID="{EF7A7E8A-23FC-442B-B1CC-8BEBC42D64F7}" presName="rootText" presStyleLbl="node3" presStyleIdx="11" presStyleCnt="14">
        <dgm:presLayoutVars>
          <dgm:chPref val="3"/>
        </dgm:presLayoutVars>
      </dgm:prSet>
      <dgm:spPr/>
    </dgm:pt>
    <dgm:pt modelId="{A41CEC88-C1B6-4DFE-9124-424CC4E8FAC8}" type="pres">
      <dgm:prSet presAssocID="{EF7A7E8A-23FC-442B-B1CC-8BEBC42D64F7}" presName="rootConnector" presStyleLbl="node3" presStyleIdx="11" presStyleCnt="14"/>
      <dgm:spPr/>
    </dgm:pt>
    <dgm:pt modelId="{A8EFCFF7-536A-4643-A203-9BB463116D8E}" type="pres">
      <dgm:prSet presAssocID="{EF7A7E8A-23FC-442B-B1CC-8BEBC42D64F7}" presName="hierChild4" presStyleCnt="0"/>
      <dgm:spPr/>
    </dgm:pt>
    <dgm:pt modelId="{98714119-8ADF-45C3-B151-69A6569B4C69}" type="pres">
      <dgm:prSet presAssocID="{EF7A7E8A-23FC-442B-B1CC-8BEBC42D64F7}" presName="hierChild5" presStyleCnt="0"/>
      <dgm:spPr/>
    </dgm:pt>
    <dgm:pt modelId="{1679F611-1768-4DF1-92D2-2ABA33F52954}" type="pres">
      <dgm:prSet presAssocID="{D1F08918-E87A-4827-96EB-197E1D459CA4}" presName="Name48" presStyleLbl="parChTrans1D3" presStyleIdx="12" presStyleCnt="14"/>
      <dgm:spPr/>
    </dgm:pt>
    <dgm:pt modelId="{3EB3B2BF-83E3-43EC-8B4A-22E5A8006260}" type="pres">
      <dgm:prSet presAssocID="{145CDE4C-D961-40ED-AD5C-4F15CABC75FB}" presName="hierRoot2" presStyleCnt="0">
        <dgm:presLayoutVars>
          <dgm:hierBranch val="hang"/>
        </dgm:presLayoutVars>
      </dgm:prSet>
      <dgm:spPr/>
    </dgm:pt>
    <dgm:pt modelId="{AF597625-1C9B-4EFB-89C7-964B32D14CF1}" type="pres">
      <dgm:prSet presAssocID="{145CDE4C-D961-40ED-AD5C-4F15CABC75FB}" presName="rootComposite" presStyleCnt="0"/>
      <dgm:spPr/>
    </dgm:pt>
    <dgm:pt modelId="{BC6D9694-E2FB-466A-9121-F6DA2CA4E423}" type="pres">
      <dgm:prSet presAssocID="{145CDE4C-D961-40ED-AD5C-4F15CABC75FB}" presName="rootText" presStyleLbl="node3" presStyleIdx="12" presStyleCnt="14" custLinFactX="-20581" custLinFactY="20597" custLinFactNeighborX="-100000" custLinFactNeighborY="100000">
        <dgm:presLayoutVars>
          <dgm:chPref val="3"/>
        </dgm:presLayoutVars>
      </dgm:prSet>
      <dgm:spPr/>
    </dgm:pt>
    <dgm:pt modelId="{ED85CF53-B366-40FC-A1B2-AC0A7E230913}" type="pres">
      <dgm:prSet presAssocID="{145CDE4C-D961-40ED-AD5C-4F15CABC75FB}" presName="rootConnector" presStyleLbl="node3" presStyleIdx="12" presStyleCnt="14"/>
      <dgm:spPr/>
    </dgm:pt>
    <dgm:pt modelId="{516CA77B-2490-4C12-BE3E-3D3BE5F54CF1}" type="pres">
      <dgm:prSet presAssocID="{145CDE4C-D961-40ED-AD5C-4F15CABC75FB}" presName="hierChild4" presStyleCnt="0"/>
      <dgm:spPr/>
    </dgm:pt>
    <dgm:pt modelId="{0992B6CE-88A6-4CA3-BBCB-69055B955878}" type="pres">
      <dgm:prSet presAssocID="{145CDE4C-D961-40ED-AD5C-4F15CABC75FB}" presName="hierChild5" presStyleCnt="0"/>
      <dgm:spPr/>
    </dgm:pt>
    <dgm:pt modelId="{9546EDD2-AE2D-4CCC-A153-7110360B9BEC}" type="pres">
      <dgm:prSet presAssocID="{5CF60ADD-7448-4FA0-B129-3579EFE6BDBF}" presName="Name48" presStyleLbl="parChTrans1D3" presStyleIdx="13" presStyleCnt="14"/>
      <dgm:spPr/>
    </dgm:pt>
    <dgm:pt modelId="{9FE3402F-57AD-46ED-9414-75CC69E8BB3C}" type="pres">
      <dgm:prSet presAssocID="{78529EF1-C1C6-4CD6-BDBF-4ADB1B3719D4}" presName="hierRoot2" presStyleCnt="0">
        <dgm:presLayoutVars>
          <dgm:hierBranch val="hang"/>
        </dgm:presLayoutVars>
      </dgm:prSet>
      <dgm:spPr/>
    </dgm:pt>
    <dgm:pt modelId="{8C2A3C82-3AAD-41A6-82CB-8B35916F6F8D}" type="pres">
      <dgm:prSet presAssocID="{78529EF1-C1C6-4CD6-BDBF-4ADB1B3719D4}" presName="rootComposite" presStyleCnt="0"/>
      <dgm:spPr/>
    </dgm:pt>
    <dgm:pt modelId="{34C6C65D-2FB2-4BC6-85E7-4981197D899A}" type="pres">
      <dgm:prSet presAssocID="{78529EF1-C1C6-4CD6-BDBF-4ADB1B3719D4}" presName="rootText" presStyleLbl="node3" presStyleIdx="13" presStyleCnt="14" custLinFactX="24205" custLinFactY="-41520" custLinFactNeighborX="100000" custLinFactNeighborY="-100000">
        <dgm:presLayoutVars>
          <dgm:chPref val="3"/>
        </dgm:presLayoutVars>
      </dgm:prSet>
      <dgm:spPr/>
    </dgm:pt>
    <dgm:pt modelId="{D9F8732B-C34D-4E46-89C0-591665126EF3}" type="pres">
      <dgm:prSet presAssocID="{78529EF1-C1C6-4CD6-BDBF-4ADB1B3719D4}" presName="rootConnector" presStyleLbl="node3" presStyleIdx="13" presStyleCnt="14"/>
      <dgm:spPr/>
    </dgm:pt>
    <dgm:pt modelId="{1E256350-75A4-4879-934C-E6C51E7ACD72}" type="pres">
      <dgm:prSet presAssocID="{78529EF1-C1C6-4CD6-BDBF-4ADB1B3719D4}" presName="hierChild4" presStyleCnt="0"/>
      <dgm:spPr/>
    </dgm:pt>
    <dgm:pt modelId="{23AD8370-2A2A-4C04-815A-4FA7C374EABB}" type="pres">
      <dgm:prSet presAssocID="{78529EF1-C1C6-4CD6-BDBF-4ADB1B3719D4}" presName="hierChild5" presStyleCnt="0"/>
      <dgm:spPr/>
    </dgm:pt>
    <dgm:pt modelId="{DC47B5BE-0D25-4337-B97F-303E26D4FF58}" type="pres">
      <dgm:prSet presAssocID="{25AF2A20-742B-4B54-82EE-1A36C3C1A1C1}" presName="hierChild5" presStyleCnt="0"/>
      <dgm:spPr/>
    </dgm:pt>
    <dgm:pt modelId="{A01BFD0A-DF36-4B6D-9BA0-3A05A52ED7B1}" type="pres">
      <dgm:prSet presAssocID="{735E0ECF-1473-4459-9782-B3BFD89D844B}" presName="hierChild3" presStyleCnt="0"/>
      <dgm:spPr/>
    </dgm:pt>
  </dgm:ptLst>
  <dgm:cxnLst>
    <dgm:cxn modelId="{A5A43201-3CF9-4F0C-AA9E-656CF7BD415C}" type="presOf" srcId="{16816A87-973E-4B4F-A654-1165D3D6BD11}" destId="{15DD8594-E37B-44FE-84D2-9389401D1F5C}" srcOrd="1" destOrd="0" presId="urn:microsoft.com/office/officeart/2005/8/layout/orgChart1"/>
    <dgm:cxn modelId="{B727C704-BABA-4DE5-949B-F2D44D9FA491}" type="presOf" srcId="{0BFE6632-1AB2-41A4-A1CF-679F098C1CE8}" destId="{B9C07A85-7AF3-4DDB-BED5-54AAA28C4482}" srcOrd="1" destOrd="0" presId="urn:microsoft.com/office/officeart/2005/8/layout/orgChart1"/>
    <dgm:cxn modelId="{CE4BB30B-966B-45C3-A669-B76BD99C3168}" type="presOf" srcId="{0BFE6632-1AB2-41A4-A1CF-679F098C1CE8}" destId="{A3E4031B-8BAB-4B77-A326-269F825A8EE1}" srcOrd="0" destOrd="0" presId="urn:microsoft.com/office/officeart/2005/8/layout/orgChart1"/>
    <dgm:cxn modelId="{D9E37111-B8E5-4806-AAD1-7B9FA8B19E12}" srcId="{AEB5C877-C77B-47BD-825A-482B3EB5DF5F}" destId="{735E0ECF-1473-4459-9782-B3BFD89D844B}" srcOrd="0" destOrd="0" parTransId="{90F12E4B-19E3-4560-90AB-454891BF7004}" sibTransId="{ACF038FB-1CE1-4A98-8F2E-9A6C83F1B13E}"/>
    <dgm:cxn modelId="{E6016615-0926-4B8A-A2D5-F95DA9136F32}" type="presOf" srcId="{55D3AE3F-3FF9-459E-AA41-4FFD3A4B530A}" destId="{F721A2C3-B74E-4B93-9D96-D10D55204BB2}" srcOrd="0" destOrd="0" presId="urn:microsoft.com/office/officeart/2005/8/layout/orgChart1"/>
    <dgm:cxn modelId="{27C8FB17-792C-4ABD-B119-C78631A2B968}" srcId="{C4171510-A219-4D73-ABD0-9340201AB08B}" destId="{EF0A4041-6C46-4B93-AC8F-400BFAEA32CE}" srcOrd="2" destOrd="0" parTransId="{B3DF8B2E-F63B-4C81-B13E-ACAE6BECD028}" sibTransId="{4FD8CD33-F03F-4380-9B0F-0F5E88BBD306}"/>
    <dgm:cxn modelId="{ED740D19-2A19-45BF-9624-3628378D0526}" type="presOf" srcId="{16816A87-973E-4B4F-A654-1165D3D6BD11}" destId="{0B3673FB-5A00-41D7-A466-568C6A22B051}" srcOrd="0" destOrd="0" presId="urn:microsoft.com/office/officeart/2005/8/layout/orgChart1"/>
    <dgm:cxn modelId="{E3D87F22-EEA2-486C-A3F7-2113400DD4D6}" type="presOf" srcId="{3F407392-4167-4C51-A077-D7329DB2CED1}" destId="{7530D462-01FB-4E6D-9118-B2167C4604DC}" srcOrd="1" destOrd="0" presId="urn:microsoft.com/office/officeart/2005/8/layout/orgChart1"/>
    <dgm:cxn modelId="{DDE97A23-B107-4301-843B-9FAB7A3824CE}" srcId="{735E0ECF-1473-4459-9782-B3BFD89D844B}" destId="{25AF2A20-742B-4B54-82EE-1A36C3C1A1C1}" srcOrd="2" destOrd="0" parTransId="{DD5605C9-86D4-46AB-815E-97791D76E890}" sibTransId="{DB2CF243-4E5E-43F5-BC45-86118435809D}"/>
    <dgm:cxn modelId="{46B04127-D0A8-4C5E-894B-CE18DD1B80E5}" srcId="{5D030A46-7792-4815-B57B-046A07F0140A}" destId="{16816A87-973E-4B4F-A654-1165D3D6BD11}" srcOrd="3" destOrd="0" parTransId="{A097BC90-7C7B-4417-B541-121A504AFDFB}" sibTransId="{1455817B-A8D7-45E2-9E06-FEB2383BDF0C}"/>
    <dgm:cxn modelId="{39718F2F-F1BB-4543-94B9-E375F01D1237}" srcId="{735E0ECF-1473-4459-9782-B3BFD89D844B}" destId="{5D030A46-7792-4815-B57B-046A07F0140A}" srcOrd="0" destOrd="0" parTransId="{93793C77-22A1-4452-AA5B-CD75C3A2088D}" sibTransId="{23F7F991-0E15-4B2C-9412-38FC07AC3355}"/>
    <dgm:cxn modelId="{BF796633-D964-451F-B9F3-256C8D0C471D}" type="presOf" srcId="{DD5605C9-86D4-46AB-815E-97791D76E890}" destId="{04B36B14-FDED-4614-BB74-97EE5BB8F52D}" srcOrd="0" destOrd="0" presId="urn:microsoft.com/office/officeart/2005/8/layout/orgChart1"/>
    <dgm:cxn modelId="{CF675233-7C34-4FD6-8FEC-05E2C4C6685E}" type="presOf" srcId="{C2BCB542-154D-41AA-BC2F-0175A751E962}" destId="{A4260DFB-585E-4A73-816C-F9AEEDDA9394}" srcOrd="0" destOrd="0" presId="urn:microsoft.com/office/officeart/2005/8/layout/orgChart1"/>
    <dgm:cxn modelId="{7345F433-8A83-4398-A19E-D7925B83ADCD}" type="presOf" srcId="{145CDE4C-D961-40ED-AD5C-4F15CABC75FB}" destId="{BC6D9694-E2FB-466A-9121-F6DA2CA4E423}" srcOrd="0" destOrd="0" presId="urn:microsoft.com/office/officeart/2005/8/layout/orgChart1"/>
    <dgm:cxn modelId="{0E72D436-B8EE-4BEE-AA3A-24FF9B257880}" srcId="{C4171510-A219-4D73-ABD0-9340201AB08B}" destId="{B35741F1-64E8-425C-8768-F1973D6B9FCD}" srcOrd="1" destOrd="0" parTransId="{F7724F3E-23A6-4AE0-9E34-B131A4643726}" sibTransId="{8B689FC8-9BB4-4215-BCC7-149B8015AFDB}"/>
    <dgm:cxn modelId="{29A1E63A-EF8B-4B5E-BC29-34D435171C1D}" type="presOf" srcId="{145CDE4C-D961-40ED-AD5C-4F15CABC75FB}" destId="{ED85CF53-B366-40FC-A1B2-AC0A7E230913}" srcOrd="1" destOrd="0" presId="urn:microsoft.com/office/officeart/2005/8/layout/orgChart1"/>
    <dgm:cxn modelId="{211EB95B-E29C-4C90-9CA4-6271E55946F4}" type="presOf" srcId="{B35741F1-64E8-425C-8768-F1973D6B9FCD}" destId="{5F232BDD-EEA6-4F5D-A6CC-275A9E5D3873}" srcOrd="1" destOrd="0" presId="urn:microsoft.com/office/officeart/2005/8/layout/orgChart1"/>
    <dgm:cxn modelId="{D7918162-D46D-40AF-AC97-E3652225FDFD}" type="presOf" srcId="{78529EF1-C1C6-4CD6-BDBF-4ADB1B3719D4}" destId="{D9F8732B-C34D-4E46-89C0-591665126EF3}" srcOrd="1" destOrd="0" presId="urn:microsoft.com/office/officeart/2005/8/layout/orgChart1"/>
    <dgm:cxn modelId="{A61EE544-CE24-4F3B-A5CE-4C7D53B1251F}" srcId="{25AF2A20-742B-4B54-82EE-1A36C3C1A1C1}" destId="{78529EF1-C1C6-4CD6-BDBF-4ADB1B3719D4}" srcOrd="4" destOrd="0" parTransId="{5CF60ADD-7448-4FA0-B129-3579EFE6BDBF}" sibTransId="{2CE863CE-E8BB-4110-960E-C20F50638BCB}"/>
    <dgm:cxn modelId="{4EF13E66-5137-4973-945B-7F351A5B460B}" type="presOf" srcId="{868AF991-4EBE-4263-87F3-E67A2033B966}" destId="{900AFB7F-2B1C-4F2F-90FD-534B3C5D185A}" srcOrd="0" destOrd="0" presId="urn:microsoft.com/office/officeart/2005/8/layout/orgChart1"/>
    <dgm:cxn modelId="{31C90A48-C72C-491D-A92D-3A474CB7D479}" type="presOf" srcId="{5D030A46-7792-4815-B57B-046A07F0140A}" destId="{2FD465CE-D641-4F07-9394-155CB7FBF3F3}" srcOrd="1" destOrd="0" presId="urn:microsoft.com/office/officeart/2005/8/layout/orgChart1"/>
    <dgm:cxn modelId="{A3A3CE4A-4227-45C3-9470-06F72CEE1655}" type="presOf" srcId="{3F407392-4167-4C51-A077-D7329DB2CED1}" destId="{36764980-1D1F-4C31-B763-CBCF535AD06A}" srcOrd="0" destOrd="0" presId="urn:microsoft.com/office/officeart/2005/8/layout/orgChart1"/>
    <dgm:cxn modelId="{DF2CFB4A-6267-4CBA-B60A-0D7B059FEE7D}" type="presOf" srcId="{F7724F3E-23A6-4AE0-9E34-B131A4643726}" destId="{4C203ED4-6493-487D-88B2-D43CA89A714C}" srcOrd="0" destOrd="0" presId="urn:microsoft.com/office/officeart/2005/8/layout/orgChart1"/>
    <dgm:cxn modelId="{384C9B4E-2FC3-4F92-9A5A-33AE3ADC186C}" type="presOf" srcId="{EF7A7E8A-23FC-442B-B1CC-8BEBC42D64F7}" destId="{A41CEC88-C1B6-4DFE-9124-424CC4E8FAC8}" srcOrd="1" destOrd="0" presId="urn:microsoft.com/office/officeart/2005/8/layout/orgChart1"/>
    <dgm:cxn modelId="{F1054851-897E-4CBB-BCA7-46740247E9B2}" type="presOf" srcId="{2B5C111A-46A9-4164-9BED-60CE7D0DEFD1}" destId="{DC8B994C-FFB3-4EA3-9D85-F30443BCB270}" srcOrd="0" destOrd="0" presId="urn:microsoft.com/office/officeart/2005/8/layout/orgChart1"/>
    <dgm:cxn modelId="{23A42752-AF71-4226-9CD7-2E55F233AD0A}" type="presOf" srcId="{A097BC90-7C7B-4417-B541-121A504AFDFB}" destId="{935CF41C-8E65-4556-B698-9DE0FA9D7114}" srcOrd="0" destOrd="0" presId="urn:microsoft.com/office/officeart/2005/8/layout/orgChart1"/>
    <dgm:cxn modelId="{05AD7474-C0BB-4F93-ADE9-F30E56F3E2C5}" type="presOf" srcId="{EB027484-7CEA-4CBE-BF58-C09DD2571399}" destId="{857E5E5B-C52C-4438-9D5D-D1C33F85DC46}" srcOrd="0" destOrd="0" presId="urn:microsoft.com/office/officeart/2005/8/layout/orgChart1"/>
    <dgm:cxn modelId="{AAEC8174-EFA4-45DE-8C80-FE9901949D2C}" type="presOf" srcId="{5D030A46-7792-4815-B57B-046A07F0140A}" destId="{AC5FF851-1189-4F95-8351-A97A476B2246}" srcOrd="0" destOrd="0" presId="urn:microsoft.com/office/officeart/2005/8/layout/orgChart1"/>
    <dgm:cxn modelId="{65C3E974-3B89-4F78-A903-B60859627B7D}" type="presOf" srcId="{B3DF8B2E-F63B-4C81-B13E-ACAE6BECD028}" destId="{6BE74CAF-23C6-4A5D-A858-3A2C21F0676F}" srcOrd="0" destOrd="0" presId="urn:microsoft.com/office/officeart/2005/8/layout/orgChart1"/>
    <dgm:cxn modelId="{BF3E4157-32F8-4E4D-AAD4-0542AAD89A89}" srcId="{25AF2A20-742B-4B54-82EE-1A36C3C1A1C1}" destId="{0BFE6632-1AB2-41A4-A1CF-679F098C1CE8}" srcOrd="1" destOrd="0" parTransId="{2285AABB-1B9B-4D96-92EB-A1ECC28EC77A}" sibTransId="{DCBB5A56-AC60-4485-9CF7-5DEBB8E7D79E}"/>
    <dgm:cxn modelId="{25039278-8FAC-456B-8C10-D9DB6F76A00E}" type="presOf" srcId="{5AA235E6-8A4F-4D6A-81B1-691C8B486EDE}" destId="{42228D22-AB2C-4818-946A-805E3D87E56C}" srcOrd="0" destOrd="0" presId="urn:microsoft.com/office/officeart/2005/8/layout/orgChart1"/>
    <dgm:cxn modelId="{B2A39E5A-DF76-4903-802E-3BBBF8A4D392}" type="presOf" srcId="{78529EF1-C1C6-4CD6-BDBF-4ADB1B3719D4}" destId="{34C6C65D-2FB2-4BC6-85E7-4981197D899A}" srcOrd="0" destOrd="0" presId="urn:microsoft.com/office/officeart/2005/8/layout/orgChart1"/>
    <dgm:cxn modelId="{0ECC4382-2D75-451B-B843-EB1DA230496D}" type="presOf" srcId="{C4171510-A219-4D73-ABD0-9340201AB08B}" destId="{71D9930B-3E8E-46AF-9F9D-50C9E28A14EA}" srcOrd="1" destOrd="0" presId="urn:microsoft.com/office/officeart/2005/8/layout/orgChart1"/>
    <dgm:cxn modelId="{8487FF88-8AF7-4784-B911-F74341B0E40A}" srcId="{5D030A46-7792-4815-B57B-046A07F0140A}" destId="{55D3AE3F-3FF9-459E-AA41-4FFD3A4B530A}" srcOrd="2" destOrd="0" parTransId="{33A946CB-810B-4292-955D-3DF60C7CCC01}" sibTransId="{32DB0A79-289B-4BA9-9212-0AFD503BC2FE}"/>
    <dgm:cxn modelId="{CB138089-4E9F-49D4-A965-67B2284B85F7}" srcId="{5D030A46-7792-4815-B57B-046A07F0140A}" destId="{3F407392-4167-4C51-A077-D7329DB2CED1}" srcOrd="1" destOrd="0" parTransId="{2B5C111A-46A9-4164-9BED-60CE7D0DEFD1}" sibTransId="{32346728-CBD2-4171-9AB1-F5DFDB148C4F}"/>
    <dgm:cxn modelId="{A5EAAF89-1B8D-466F-BED5-7B1D3CC0458D}" type="presOf" srcId="{55D3AE3F-3FF9-459E-AA41-4FFD3A4B530A}" destId="{84E38710-D049-4F4F-A352-B9C5CABE829D}" srcOrd="1" destOrd="0" presId="urn:microsoft.com/office/officeart/2005/8/layout/orgChart1"/>
    <dgm:cxn modelId="{F5C8658B-C641-4D5B-9611-EA2FB5D34D15}" type="presOf" srcId="{735E0ECF-1473-4459-9782-B3BFD89D844B}" destId="{608CB659-20FB-4FD5-BD59-4EDC1CFD706A}" srcOrd="0" destOrd="0" presId="urn:microsoft.com/office/officeart/2005/8/layout/orgChart1"/>
    <dgm:cxn modelId="{5DE9968B-CBA3-4207-95E2-F8184BAEC330}" srcId="{5D030A46-7792-4815-B57B-046A07F0140A}" destId="{EB027484-7CEA-4CBE-BF58-C09DD2571399}" srcOrd="0" destOrd="0" parTransId="{9F1142D6-E2EB-4B62-9657-E1BFD7D3F930}" sibTransId="{7E2DFD20-B35C-4A34-A97B-6B21C5343AD5}"/>
    <dgm:cxn modelId="{F6FEC18B-BF5F-407A-A650-267888D65D30}" type="presOf" srcId="{5CF60ADD-7448-4FA0-B129-3579EFE6BDBF}" destId="{9546EDD2-AE2D-4CCC-A153-7110360B9BEC}" srcOrd="0" destOrd="0" presId="urn:microsoft.com/office/officeart/2005/8/layout/orgChart1"/>
    <dgm:cxn modelId="{CA516692-20C4-41D0-95E0-73890927DE1D}" type="presOf" srcId="{A4BA30C2-EE2A-4C06-9F5B-E5D4035B17CC}" destId="{FCDEEE3A-FB67-4F1F-BECE-E1F592365CFC}" srcOrd="1" destOrd="0" presId="urn:microsoft.com/office/officeart/2005/8/layout/orgChart1"/>
    <dgm:cxn modelId="{33AF3999-0C75-4883-8FD9-D4CED9E7C594}" type="presOf" srcId="{A3996FD5-4B24-43FC-9B73-EB82E12E15BD}" destId="{A8A43A45-90AB-4F0B-9084-0D14C71D65E1}" srcOrd="0" destOrd="0" presId="urn:microsoft.com/office/officeart/2005/8/layout/orgChart1"/>
    <dgm:cxn modelId="{B8AEBA9E-980E-41E3-8BBE-4970C544A02F}" type="presOf" srcId="{33A946CB-810B-4292-955D-3DF60C7CCC01}" destId="{C795F404-0DA7-405E-81AE-25EEDEC41780}" srcOrd="0" destOrd="0" presId="urn:microsoft.com/office/officeart/2005/8/layout/orgChart1"/>
    <dgm:cxn modelId="{CAACDBA0-2D2E-4A6F-B145-B8710EB5B950}" type="presOf" srcId="{2285AABB-1B9B-4D96-92EB-A1ECC28EC77A}" destId="{780BE9DB-483E-4D39-959E-0895D44A0731}" srcOrd="0" destOrd="0" presId="urn:microsoft.com/office/officeart/2005/8/layout/orgChart1"/>
    <dgm:cxn modelId="{D1662BA2-0044-4920-AE9A-ECC67C36B483}" type="presOf" srcId="{93793C77-22A1-4452-AA5B-CD75C3A2088D}" destId="{AA2C4414-7EF3-4BAE-A19E-E52D628B3FAE}" srcOrd="0" destOrd="0" presId="urn:microsoft.com/office/officeart/2005/8/layout/orgChart1"/>
    <dgm:cxn modelId="{692D61A5-8CA8-4087-BFDE-BF052FCB83E0}" type="presOf" srcId="{EF0A4041-6C46-4B93-AC8F-400BFAEA32CE}" destId="{427A19DC-BCE0-44E5-BFEE-E56D90F4D79D}" srcOrd="0" destOrd="0" presId="urn:microsoft.com/office/officeart/2005/8/layout/orgChart1"/>
    <dgm:cxn modelId="{E22470A6-5529-4624-AFED-C98CADA68AC1}" srcId="{25AF2A20-742B-4B54-82EE-1A36C3C1A1C1}" destId="{145CDE4C-D961-40ED-AD5C-4F15CABC75FB}" srcOrd="3" destOrd="0" parTransId="{D1F08918-E87A-4827-96EB-197E1D459CA4}" sibTransId="{4B760262-8528-4642-BF4B-1AE4691717F0}"/>
    <dgm:cxn modelId="{BF0293A6-4CEC-4AF2-A719-BF9277F1B204}" type="presOf" srcId="{A3996FD5-4B24-43FC-9B73-EB82E12E15BD}" destId="{2C183873-6D40-4E8A-85C6-17B11FDDE65A}" srcOrd="1" destOrd="0" presId="urn:microsoft.com/office/officeart/2005/8/layout/orgChart1"/>
    <dgm:cxn modelId="{1A46E2A8-2BAF-4F06-BD1D-31E4878853E3}" srcId="{C4171510-A219-4D73-ABD0-9340201AB08B}" destId="{A3996FD5-4B24-43FC-9B73-EB82E12E15BD}" srcOrd="0" destOrd="0" parTransId="{D31CC421-290B-41DD-B006-DFB813BBC81E}" sibTransId="{354B113F-3523-4050-AF52-AC08D8151D46}"/>
    <dgm:cxn modelId="{A735B4A9-5921-485B-B237-15920F1A7A00}" type="presOf" srcId="{EF7A7E8A-23FC-442B-B1CC-8BEBC42D64F7}" destId="{0EBD0C9E-C5E6-406F-9F73-CA840D3FE333}" srcOrd="0" destOrd="0" presId="urn:microsoft.com/office/officeart/2005/8/layout/orgChart1"/>
    <dgm:cxn modelId="{0C7711AA-3347-45A2-BD1F-7A8F83B66F66}" srcId="{735E0ECF-1473-4459-9782-B3BFD89D844B}" destId="{C4171510-A219-4D73-ABD0-9340201AB08B}" srcOrd="1" destOrd="0" parTransId="{C596D3E0-CF1C-4186-873C-266C0BDDA405}" sibTransId="{55F7E4BD-CE46-4672-9F79-FC039A5ADB47}"/>
    <dgm:cxn modelId="{C5F9A2B4-994F-4B02-89C5-4AA49B6FED21}" type="presOf" srcId="{25AF2A20-742B-4B54-82EE-1A36C3C1A1C1}" destId="{6F5EABE9-ADCF-4968-81B3-04689CB922B9}" srcOrd="0" destOrd="0" presId="urn:microsoft.com/office/officeart/2005/8/layout/orgChart1"/>
    <dgm:cxn modelId="{B087ABB6-6E8B-4769-8F35-E50C59AA8EF1}" type="presOf" srcId="{B35741F1-64E8-425C-8768-F1973D6B9FCD}" destId="{18F5216A-D74D-45D9-8EB3-3C45223454C9}" srcOrd="0" destOrd="0" presId="urn:microsoft.com/office/officeart/2005/8/layout/orgChart1"/>
    <dgm:cxn modelId="{8C978CB8-4C8C-4D56-8510-38026C560D96}" srcId="{25AF2A20-742B-4B54-82EE-1A36C3C1A1C1}" destId="{EF7A7E8A-23FC-442B-B1CC-8BEBC42D64F7}" srcOrd="2" destOrd="0" parTransId="{DA1301F0-E93C-4405-8C5D-A09F9A692C93}" sibTransId="{D8F3876E-1E8A-49F6-8644-7E7CB2E96816}"/>
    <dgm:cxn modelId="{010821BD-9140-496C-B874-2845674FAE91}" srcId="{25AF2A20-742B-4B54-82EE-1A36C3C1A1C1}" destId="{111E18F4-EF8B-4472-A2D1-E52F7FB4758B}" srcOrd="0" destOrd="0" parTransId="{868AF991-4EBE-4263-87F3-E67A2033B966}" sibTransId="{5A391C39-3151-4BBC-A20E-ACFFA20617ED}"/>
    <dgm:cxn modelId="{69724BBD-BE74-4352-9CF2-75F987293A44}" type="presOf" srcId="{EF0A4041-6C46-4B93-AC8F-400BFAEA32CE}" destId="{3A4B4255-6EBC-4DB4-B121-4EA590078506}" srcOrd="1" destOrd="0" presId="urn:microsoft.com/office/officeart/2005/8/layout/orgChart1"/>
    <dgm:cxn modelId="{BEF6FDBD-B760-4A25-992B-543615E8DFC2}" type="presOf" srcId="{C4171510-A219-4D73-ABD0-9340201AB08B}" destId="{43FE5B09-28AC-4B39-BFE9-1C78BB5E9846}" srcOrd="0" destOrd="0" presId="urn:microsoft.com/office/officeart/2005/8/layout/orgChart1"/>
    <dgm:cxn modelId="{C5697BBF-A660-4CE2-BF5B-CBA9F3362CF8}" type="presOf" srcId="{C596D3E0-CF1C-4186-873C-266C0BDDA405}" destId="{2D62CCC2-632D-47CD-A6FB-AF9328D9C4C3}" srcOrd="0" destOrd="0" presId="urn:microsoft.com/office/officeart/2005/8/layout/orgChart1"/>
    <dgm:cxn modelId="{496904C0-1792-4660-ACBE-B480DA28ABB5}" type="presOf" srcId="{EB027484-7CEA-4CBE-BF58-C09DD2571399}" destId="{116439AF-00EB-4779-BBCF-EF4570381522}" srcOrd="1" destOrd="0" presId="urn:microsoft.com/office/officeart/2005/8/layout/orgChart1"/>
    <dgm:cxn modelId="{B403CDC1-C16D-4AB5-B6FF-28F30E0CFC89}" type="presOf" srcId="{735612C9-9748-445A-8901-0517F5E97322}" destId="{89953E0F-E104-42A0-9060-1313CAEAD95B}" srcOrd="0" destOrd="0" presId="urn:microsoft.com/office/officeart/2005/8/layout/orgChart1"/>
    <dgm:cxn modelId="{52AB60C2-3BB1-4AA4-BE65-847609C82FF1}" type="presOf" srcId="{D31CC421-290B-41DD-B006-DFB813BBC81E}" destId="{F3A6A1AF-C065-491A-9B9F-6AC6C886A573}" srcOrd="0" destOrd="0" presId="urn:microsoft.com/office/officeart/2005/8/layout/orgChart1"/>
    <dgm:cxn modelId="{02DFD0CC-2538-4C00-AA64-07624E871026}" srcId="{5D030A46-7792-4815-B57B-046A07F0140A}" destId="{735612C9-9748-445A-8901-0517F5E97322}" srcOrd="4" destOrd="0" parTransId="{5AA235E6-8A4F-4D6A-81B1-691C8B486EDE}" sibTransId="{AEDFDEFD-BDA8-47FD-87F7-6763CD7FB148}"/>
    <dgm:cxn modelId="{6908A9D4-4AE4-4458-A1DD-067D726D76DD}" type="presOf" srcId="{9F1142D6-E2EB-4B62-9657-E1BFD7D3F930}" destId="{6C54FE7E-1514-4596-B8CE-BCE54D5A582E}" srcOrd="0" destOrd="0" presId="urn:microsoft.com/office/officeart/2005/8/layout/orgChart1"/>
    <dgm:cxn modelId="{CF994ADA-1817-41AD-A61F-47E09902D3D0}" srcId="{C4171510-A219-4D73-ABD0-9340201AB08B}" destId="{A4BA30C2-EE2A-4C06-9F5B-E5D4035B17CC}" srcOrd="3" destOrd="0" parTransId="{C2BCB542-154D-41AA-BC2F-0175A751E962}" sibTransId="{ED78C04B-1E00-40C4-9DDF-16B2B13BAE0C}"/>
    <dgm:cxn modelId="{BD75FCE7-17DB-43E2-8442-1CA6CA8B6C64}" type="presOf" srcId="{A4BA30C2-EE2A-4C06-9F5B-E5D4035B17CC}" destId="{93931096-6600-46C3-98DA-74AC02AC0B71}" srcOrd="0" destOrd="0" presId="urn:microsoft.com/office/officeart/2005/8/layout/orgChart1"/>
    <dgm:cxn modelId="{77020CED-CA59-4930-9658-9EE2D723950A}" type="presOf" srcId="{DA1301F0-E93C-4405-8C5D-A09F9A692C93}" destId="{2DC61ABF-E910-4668-AC4D-DCE4666050B7}" srcOrd="0" destOrd="0" presId="urn:microsoft.com/office/officeart/2005/8/layout/orgChart1"/>
    <dgm:cxn modelId="{2F2702F1-2C2C-4617-A586-A1761A85420B}" type="presOf" srcId="{111E18F4-EF8B-4472-A2D1-E52F7FB4758B}" destId="{7F2C8B3F-CC73-4AF4-B493-142FDFBE4550}" srcOrd="0" destOrd="0" presId="urn:microsoft.com/office/officeart/2005/8/layout/orgChart1"/>
    <dgm:cxn modelId="{7EA7C5F5-79A3-4145-B2E2-630F8F86887E}" type="presOf" srcId="{AEB5C877-C77B-47BD-825A-482B3EB5DF5F}" destId="{008A9A80-BD13-446C-833B-2B197FFBA9AB}" srcOrd="0" destOrd="0" presId="urn:microsoft.com/office/officeart/2005/8/layout/orgChart1"/>
    <dgm:cxn modelId="{B09A44F6-FB9D-4A66-A1FF-DF393A33516C}" type="presOf" srcId="{25AF2A20-742B-4B54-82EE-1A36C3C1A1C1}" destId="{492EE907-4099-4D6E-8EF8-4A500681DBF1}" srcOrd="1" destOrd="0" presId="urn:microsoft.com/office/officeart/2005/8/layout/orgChart1"/>
    <dgm:cxn modelId="{2F2130F8-4BF4-43C1-8B52-E58C7BF7CDA4}" type="presOf" srcId="{111E18F4-EF8B-4472-A2D1-E52F7FB4758B}" destId="{91F4DFD6-08F3-4398-8E0A-317B7ABFFAC4}" srcOrd="1" destOrd="0" presId="urn:microsoft.com/office/officeart/2005/8/layout/orgChart1"/>
    <dgm:cxn modelId="{D1BF9DF9-1189-4BB4-800D-FC4D5EE2293D}" type="presOf" srcId="{735E0ECF-1473-4459-9782-B3BFD89D844B}" destId="{663788D1-3B8C-4438-98A1-293F772704C9}" srcOrd="1" destOrd="0" presId="urn:microsoft.com/office/officeart/2005/8/layout/orgChart1"/>
    <dgm:cxn modelId="{A3C8C9FB-DE84-4531-89D2-96C842220372}" type="presOf" srcId="{D1F08918-E87A-4827-96EB-197E1D459CA4}" destId="{1679F611-1768-4DF1-92D2-2ABA33F52954}" srcOrd="0" destOrd="0" presId="urn:microsoft.com/office/officeart/2005/8/layout/orgChart1"/>
    <dgm:cxn modelId="{8086A3FF-ECFF-4374-AAEC-3FE624D3B52A}" type="presOf" srcId="{735612C9-9748-445A-8901-0517F5E97322}" destId="{933633F6-70B5-44A4-B5E1-C1D16DD871E4}" srcOrd="1" destOrd="0" presId="urn:microsoft.com/office/officeart/2005/8/layout/orgChart1"/>
    <dgm:cxn modelId="{2E4573A1-A4A1-49C3-92A3-B9B9C8247AE1}" type="presParOf" srcId="{008A9A80-BD13-446C-833B-2B197FFBA9AB}" destId="{ADF78B51-FF65-46D3-95B4-403BD752DD8A}" srcOrd="0" destOrd="0" presId="urn:microsoft.com/office/officeart/2005/8/layout/orgChart1"/>
    <dgm:cxn modelId="{C6508C64-7921-43C9-8100-1BC82469C1F5}" type="presParOf" srcId="{ADF78B51-FF65-46D3-95B4-403BD752DD8A}" destId="{D1481A51-9A8E-4E3F-ACFE-BBFBAA069003}" srcOrd="0" destOrd="0" presId="urn:microsoft.com/office/officeart/2005/8/layout/orgChart1"/>
    <dgm:cxn modelId="{5780DAB9-89DF-4203-8ADC-C2580D490F1F}" type="presParOf" srcId="{D1481A51-9A8E-4E3F-ACFE-BBFBAA069003}" destId="{608CB659-20FB-4FD5-BD59-4EDC1CFD706A}" srcOrd="0" destOrd="0" presId="urn:microsoft.com/office/officeart/2005/8/layout/orgChart1"/>
    <dgm:cxn modelId="{6EE2DC87-5CB0-4BBD-9968-4F1B5C6ABC26}" type="presParOf" srcId="{D1481A51-9A8E-4E3F-ACFE-BBFBAA069003}" destId="{663788D1-3B8C-4438-98A1-293F772704C9}" srcOrd="1" destOrd="0" presId="urn:microsoft.com/office/officeart/2005/8/layout/orgChart1"/>
    <dgm:cxn modelId="{B6E59371-BD2B-4A67-91A6-4677BEAAA408}" type="presParOf" srcId="{ADF78B51-FF65-46D3-95B4-403BD752DD8A}" destId="{B3767120-1D84-4CBF-A42A-7963C47D4D0B}" srcOrd="1" destOrd="0" presId="urn:microsoft.com/office/officeart/2005/8/layout/orgChart1"/>
    <dgm:cxn modelId="{AFC63573-FAFD-4581-85C9-1EC23A9F7A9E}" type="presParOf" srcId="{B3767120-1D84-4CBF-A42A-7963C47D4D0B}" destId="{AA2C4414-7EF3-4BAE-A19E-E52D628B3FAE}" srcOrd="0" destOrd="0" presId="urn:microsoft.com/office/officeart/2005/8/layout/orgChart1"/>
    <dgm:cxn modelId="{9253C694-DAFA-4083-8C03-6F64A39DD069}" type="presParOf" srcId="{B3767120-1D84-4CBF-A42A-7963C47D4D0B}" destId="{6387B0E3-D0C5-444F-9B93-1D720208E895}" srcOrd="1" destOrd="0" presId="urn:microsoft.com/office/officeart/2005/8/layout/orgChart1"/>
    <dgm:cxn modelId="{2D1522F9-BE14-419D-8FEB-4D68CC836705}" type="presParOf" srcId="{6387B0E3-D0C5-444F-9B93-1D720208E895}" destId="{12FC5992-2B6A-4B44-9993-4ACF04F605A0}" srcOrd="0" destOrd="0" presId="urn:microsoft.com/office/officeart/2005/8/layout/orgChart1"/>
    <dgm:cxn modelId="{B31F7DAE-E5E0-475E-A8EC-8D506EB990DE}" type="presParOf" srcId="{12FC5992-2B6A-4B44-9993-4ACF04F605A0}" destId="{AC5FF851-1189-4F95-8351-A97A476B2246}" srcOrd="0" destOrd="0" presId="urn:microsoft.com/office/officeart/2005/8/layout/orgChart1"/>
    <dgm:cxn modelId="{97EB837D-E706-48E3-8E2F-27CF3BBD0626}" type="presParOf" srcId="{12FC5992-2B6A-4B44-9993-4ACF04F605A0}" destId="{2FD465CE-D641-4F07-9394-155CB7FBF3F3}" srcOrd="1" destOrd="0" presId="urn:microsoft.com/office/officeart/2005/8/layout/orgChart1"/>
    <dgm:cxn modelId="{B0D087F3-5596-436B-B2D3-4CD9253D4CCC}" type="presParOf" srcId="{6387B0E3-D0C5-444F-9B93-1D720208E895}" destId="{C59FB238-8008-4F2B-BC0E-E3651B88BA6C}" srcOrd="1" destOrd="0" presId="urn:microsoft.com/office/officeart/2005/8/layout/orgChart1"/>
    <dgm:cxn modelId="{8AAD736B-C73C-4510-BD2D-EBE0D4189679}" type="presParOf" srcId="{C59FB238-8008-4F2B-BC0E-E3651B88BA6C}" destId="{6C54FE7E-1514-4596-B8CE-BCE54D5A582E}" srcOrd="0" destOrd="0" presId="urn:microsoft.com/office/officeart/2005/8/layout/orgChart1"/>
    <dgm:cxn modelId="{78DBE5D3-B336-4C6F-92C8-DD5921AE1032}" type="presParOf" srcId="{C59FB238-8008-4F2B-BC0E-E3651B88BA6C}" destId="{7D945FEB-5361-4AD6-B303-4D1323345AFD}" srcOrd="1" destOrd="0" presId="urn:microsoft.com/office/officeart/2005/8/layout/orgChart1"/>
    <dgm:cxn modelId="{2B6FF013-25DD-4E0D-9802-1C053022D6EF}" type="presParOf" srcId="{7D945FEB-5361-4AD6-B303-4D1323345AFD}" destId="{91AB74F7-9E90-4010-8B4C-0DCFF9C74B1D}" srcOrd="0" destOrd="0" presId="urn:microsoft.com/office/officeart/2005/8/layout/orgChart1"/>
    <dgm:cxn modelId="{30F6661C-B9B7-41C3-8A36-141C71F16CC7}" type="presParOf" srcId="{91AB74F7-9E90-4010-8B4C-0DCFF9C74B1D}" destId="{857E5E5B-C52C-4438-9D5D-D1C33F85DC46}" srcOrd="0" destOrd="0" presId="urn:microsoft.com/office/officeart/2005/8/layout/orgChart1"/>
    <dgm:cxn modelId="{77826211-BF16-4B2A-B449-F865ACDA846E}" type="presParOf" srcId="{91AB74F7-9E90-4010-8B4C-0DCFF9C74B1D}" destId="{116439AF-00EB-4779-BBCF-EF4570381522}" srcOrd="1" destOrd="0" presId="urn:microsoft.com/office/officeart/2005/8/layout/orgChart1"/>
    <dgm:cxn modelId="{4371FF61-4639-41E0-B8D2-54EAA592CB65}" type="presParOf" srcId="{7D945FEB-5361-4AD6-B303-4D1323345AFD}" destId="{B26C6A3D-750B-4C7E-86F3-4CA28EA85EAB}" srcOrd="1" destOrd="0" presId="urn:microsoft.com/office/officeart/2005/8/layout/orgChart1"/>
    <dgm:cxn modelId="{BA5A2545-D83C-4F2F-9ABF-830E4EA484A8}" type="presParOf" srcId="{7D945FEB-5361-4AD6-B303-4D1323345AFD}" destId="{5D7DF315-D2F7-466C-B680-AD076590EABC}" srcOrd="2" destOrd="0" presId="urn:microsoft.com/office/officeart/2005/8/layout/orgChart1"/>
    <dgm:cxn modelId="{F2630ADC-E72F-4175-A4E5-A92FDB1B19DD}" type="presParOf" srcId="{C59FB238-8008-4F2B-BC0E-E3651B88BA6C}" destId="{DC8B994C-FFB3-4EA3-9D85-F30443BCB270}" srcOrd="2" destOrd="0" presId="urn:microsoft.com/office/officeart/2005/8/layout/orgChart1"/>
    <dgm:cxn modelId="{F3A7B026-58CD-4C9C-A7A3-7FB23F8B668E}" type="presParOf" srcId="{C59FB238-8008-4F2B-BC0E-E3651B88BA6C}" destId="{A6B72F75-1778-48C5-A7E9-D7A3B9D90F78}" srcOrd="3" destOrd="0" presId="urn:microsoft.com/office/officeart/2005/8/layout/orgChart1"/>
    <dgm:cxn modelId="{4C54544B-4440-42C9-A38D-4953876DFE59}" type="presParOf" srcId="{A6B72F75-1778-48C5-A7E9-D7A3B9D90F78}" destId="{1E726FA3-AA1F-4DCD-A8E2-057242DC7FA1}" srcOrd="0" destOrd="0" presId="urn:microsoft.com/office/officeart/2005/8/layout/orgChart1"/>
    <dgm:cxn modelId="{C6BE028D-BE71-4628-8B6A-5385D1B77A4E}" type="presParOf" srcId="{1E726FA3-AA1F-4DCD-A8E2-057242DC7FA1}" destId="{36764980-1D1F-4C31-B763-CBCF535AD06A}" srcOrd="0" destOrd="0" presId="urn:microsoft.com/office/officeart/2005/8/layout/orgChart1"/>
    <dgm:cxn modelId="{953B7A4B-C6AB-4BF0-AE27-B09C3A6A7988}" type="presParOf" srcId="{1E726FA3-AA1F-4DCD-A8E2-057242DC7FA1}" destId="{7530D462-01FB-4E6D-9118-B2167C4604DC}" srcOrd="1" destOrd="0" presId="urn:microsoft.com/office/officeart/2005/8/layout/orgChart1"/>
    <dgm:cxn modelId="{042CAA59-0284-4B78-8206-14F23631C958}" type="presParOf" srcId="{A6B72F75-1778-48C5-A7E9-D7A3B9D90F78}" destId="{4AB6EF25-E66F-46AD-95C6-385EADF81F8B}" srcOrd="1" destOrd="0" presId="urn:microsoft.com/office/officeart/2005/8/layout/orgChart1"/>
    <dgm:cxn modelId="{4655BA80-017A-4B9C-B3C4-BB0CA35268DC}" type="presParOf" srcId="{A6B72F75-1778-48C5-A7E9-D7A3B9D90F78}" destId="{5DF0331A-8663-4F66-8867-F68E8D34C331}" srcOrd="2" destOrd="0" presId="urn:microsoft.com/office/officeart/2005/8/layout/orgChart1"/>
    <dgm:cxn modelId="{1B1BCB1C-FFDE-4D0C-B9F5-0C4029F97627}" type="presParOf" srcId="{C59FB238-8008-4F2B-BC0E-E3651B88BA6C}" destId="{C795F404-0DA7-405E-81AE-25EEDEC41780}" srcOrd="4" destOrd="0" presId="urn:microsoft.com/office/officeart/2005/8/layout/orgChart1"/>
    <dgm:cxn modelId="{13F46D23-9911-4FC2-8015-ECF5CE31F45B}" type="presParOf" srcId="{C59FB238-8008-4F2B-BC0E-E3651B88BA6C}" destId="{AD200E74-53F1-4DB5-A570-0CC6F572A8D1}" srcOrd="5" destOrd="0" presId="urn:microsoft.com/office/officeart/2005/8/layout/orgChart1"/>
    <dgm:cxn modelId="{3D286161-D6CF-42AE-BAAF-44634A98557D}" type="presParOf" srcId="{AD200E74-53F1-4DB5-A570-0CC6F572A8D1}" destId="{163ED4A3-4445-4E21-A75C-652C052FCCD5}" srcOrd="0" destOrd="0" presId="urn:microsoft.com/office/officeart/2005/8/layout/orgChart1"/>
    <dgm:cxn modelId="{8EF8D69C-EDC1-46DF-9601-B79358CA7BBC}" type="presParOf" srcId="{163ED4A3-4445-4E21-A75C-652C052FCCD5}" destId="{F721A2C3-B74E-4B93-9D96-D10D55204BB2}" srcOrd="0" destOrd="0" presId="urn:microsoft.com/office/officeart/2005/8/layout/orgChart1"/>
    <dgm:cxn modelId="{A6EE027F-56B5-49D1-B181-E9F6A253BA5E}" type="presParOf" srcId="{163ED4A3-4445-4E21-A75C-652C052FCCD5}" destId="{84E38710-D049-4F4F-A352-B9C5CABE829D}" srcOrd="1" destOrd="0" presId="urn:microsoft.com/office/officeart/2005/8/layout/orgChart1"/>
    <dgm:cxn modelId="{C911F53C-BF2C-4CD7-8267-B21908B2FF2F}" type="presParOf" srcId="{AD200E74-53F1-4DB5-A570-0CC6F572A8D1}" destId="{BC99E0E4-716F-410A-8A0F-C2B90704E717}" srcOrd="1" destOrd="0" presId="urn:microsoft.com/office/officeart/2005/8/layout/orgChart1"/>
    <dgm:cxn modelId="{B745BA92-368F-44F4-A824-FD41C20928E4}" type="presParOf" srcId="{AD200E74-53F1-4DB5-A570-0CC6F572A8D1}" destId="{2FF64663-7584-420A-AF91-2063BCE1A82C}" srcOrd="2" destOrd="0" presId="urn:microsoft.com/office/officeart/2005/8/layout/orgChart1"/>
    <dgm:cxn modelId="{6B461AC3-8401-4C50-A128-BF2660347474}" type="presParOf" srcId="{C59FB238-8008-4F2B-BC0E-E3651B88BA6C}" destId="{935CF41C-8E65-4556-B698-9DE0FA9D7114}" srcOrd="6" destOrd="0" presId="urn:microsoft.com/office/officeart/2005/8/layout/orgChart1"/>
    <dgm:cxn modelId="{236518A3-B788-4B61-8619-5AD2F215EA36}" type="presParOf" srcId="{C59FB238-8008-4F2B-BC0E-E3651B88BA6C}" destId="{E170CA6D-23B4-4844-8B47-FDBAC718FE09}" srcOrd="7" destOrd="0" presId="urn:microsoft.com/office/officeart/2005/8/layout/orgChart1"/>
    <dgm:cxn modelId="{B0943B77-C88C-4A2A-ABAF-58B54D23DAF6}" type="presParOf" srcId="{E170CA6D-23B4-4844-8B47-FDBAC718FE09}" destId="{CE9D54DE-C7E8-4197-B154-F698EE1726B3}" srcOrd="0" destOrd="0" presId="urn:microsoft.com/office/officeart/2005/8/layout/orgChart1"/>
    <dgm:cxn modelId="{0B2CD4C4-4B8A-47CF-870A-35C73E1B8310}" type="presParOf" srcId="{CE9D54DE-C7E8-4197-B154-F698EE1726B3}" destId="{0B3673FB-5A00-41D7-A466-568C6A22B051}" srcOrd="0" destOrd="0" presId="urn:microsoft.com/office/officeart/2005/8/layout/orgChart1"/>
    <dgm:cxn modelId="{51D1F27E-0C9A-44E2-9FA7-0442D6BA72B4}" type="presParOf" srcId="{CE9D54DE-C7E8-4197-B154-F698EE1726B3}" destId="{15DD8594-E37B-44FE-84D2-9389401D1F5C}" srcOrd="1" destOrd="0" presId="urn:microsoft.com/office/officeart/2005/8/layout/orgChart1"/>
    <dgm:cxn modelId="{37168742-7DDE-42FA-A1F5-4D50A67A88E6}" type="presParOf" srcId="{E170CA6D-23B4-4844-8B47-FDBAC718FE09}" destId="{D2DFC9FD-93CF-4229-8EFC-B6E3F7A1E748}" srcOrd="1" destOrd="0" presId="urn:microsoft.com/office/officeart/2005/8/layout/orgChart1"/>
    <dgm:cxn modelId="{AB026AF2-4B93-4AF8-96B8-6E45E8F6D627}" type="presParOf" srcId="{E170CA6D-23B4-4844-8B47-FDBAC718FE09}" destId="{2A8B32EE-D2E6-40BE-A5FA-1E15F9C6B7C6}" srcOrd="2" destOrd="0" presId="urn:microsoft.com/office/officeart/2005/8/layout/orgChart1"/>
    <dgm:cxn modelId="{EDFFE43C-B0DE-4F11-9150-16494C66D954}" type="presParOf" srcId="{C59FB238-8008-4F2B-BC0E-E3651B88BA6C}" destId="{42228D22-AB2C-4818-946A-805E3D87E56C}" srcOrd="8" destOrd="0" presId="urn:microsoft.com/office/officeart/2005/8/layout/orgChart1"/>
    <dgm:cxn modelId="{57063E01-5032-4934-91B0-F0ACA78A5BC2}" type="presParOf" srcId="{C59FB238-8008-4F2B-BC0E-E3651B88BA6C}" destId="{0AEC7CC6-126C-4828-811E-FD011492A4F5}" srcOrd="9" destOrd="0" presId="urn:microsoft.com/office/officeart/2005/8/layout/orgChart1"/>
    <dgm:cxn modelId="{1C7B04FC-2D03-4B6A-86EB-4123A65233F4}" type="presParOf" srcId="{0AEC7CC6-126C-4828-811E-FD011492A4F5}" destId="{0A79E047-91A7-45F0-A3D2-A02EFB655E37}" srcOrd="0" destOrd="0" presId="urn:microsoft.com/office/officeart/2005/8/layout/orgChart1"/>
    <dgm:cxn modelId="{B79F9E76-E6E2-4757-955F-1438F32C430E}" type="presParOf" srcId="{0A79E047-91A7-45F0-A3D2-A02EFB655E37}" destId="{89953E0F-E104-42A0-9060-1313CAEAD95B}" srcOrd="0" destOrd="0" presId="urn:microsoft.com/office/officeart/2005/8/layout/orgChart1"/>
    <dgm:cxn modelId="{5A2113E5-3AC6-4E61-9FD6-BBB4914DBF27}" type="presParOf" srcId="{0A79E047-91A7-45F0-A3D2-A02EFB655E37}" destId="{933633F6-70B5-44A4-B5E1-C1D16DD871E4}" srcOrd="1" destOrd="0" presId="urn:microsoft.com/office/officeart/2005/8/layout/orgChart1"/>
    <dgm:cxn modelId="{6687E6DA-91B2-4D47-94F4-94E563BACF3B}" type="presParOf" srcId="{0AEC7CC6-126C-4828-811E-FD011492A4F5}" destId="{A93FC3F0-3655-430F-B897-E27C4F22491A}" srcOrd="1" destOrd="0" presId="urn:microsoft.com/office/officeart/2005/8/layout/orgChart1"/>
    <dgm:cxn modelId="{9CE2C0BF-21E9-4C69-99CE-891F207A610D}" type="presParOf" srcId="{0AEC7CC6-126C-4828-811E-FD011492A4F5}" destId="{4B7E7497-7A5D-426F-A411-3BE809B98BE8}" srcOrd="2" destOrd="0" presId="urn:microsoft.com/office/officeart/2005/8/layout/orgChart1"/>
    <dgm:cxn modelId="{E2390BDB-4761-49BA-9180-B6F14A732962}" type="presParOf" srcId="{6387B0E3-D0C5-444F-9B93-1D720208E895}" destId="{8349AF55-683F-4F61-A046-C0C13CC76D05}" srcOrd="2" destOrd="0" presId="urn:microsoft.com/office/officeart/2005/8/layout/orgChart1"/>
    <dgm:cxn modelId="{7BD6394D-8F17-4BB4-A796-453E0B0FEF31}" type="presParOf" srcId="{B3767120-1D84-4CBF-A42A-7963C47D4D0B}" destId="{2D62CCC2-632D-47CD-A6FB-AF9328D9C4C3}" srcOrd="2" destOrd="0" presId="urn:microsoft.com/office/officeart/2005/8/layout/orgChart1"/>
    <dgm:cxn modelId="{7838C3D0-25AC-4BFE-824D-CEFAEAF8AE3B}" type="presParOf" srcId="{B3767120-1D84-4CBF-A42A-7963C47D4D0B}" destId="{DFA3A91B-E297-4234-BFEC-E07215C4A4F0}" srcOrd="3" destOrd="0" presId="urn:microsoft.com/office/officeart/2005/8/layout/orgChart1"/>
    <dgm:cxn modelId="{398A7B00-0328-4A22-B05C-8FB008089D82}" type="presParOf" srcId="{DFA3A91B-E297-4234-BFEC-E07215C4A4F0}" destId="{09E9B259-37C6-4DAC-B977-55FDCFAE76AB}" srcOrd="0" destOrd="0" presId="urn:microsoft.com/office/officeart/2005/8/layout/orgChart1"/>
    <dgm:cxn modelId="{58E0FFDE-CA18-4AF2-AEB9-7C463A134CAC}" type="presParOf" srcId="{09E9B259-37C6-4DAC-B977-55FDCFAE76AB}" destId="{43FE5B09-28AC-4B39-BFE9-1C78BB5E9846}" srcOrd="0" destOrd="0" presId="urn:microsoft.com/office/officeart/2005/8/layout/orgChart1"/>
    <dgm:cxn modelId="{8DCF7358-67FC-4188-A36B-EBC493E4155A}" type="presParOf" srcId="{09E9B259-37C6-4DAC-B977-55FDCFAE76AB}" destId="{71D9930B-3E8E-46AF-9F9D-50C9E28A14EA}" srcOrd="1" destOrd="0" presId="urn:microsoft.com/office/officeart/2005/8/layout/orgChart1"/>
    <dgm:cxn modelId="{23BF2C8F-8CAA-47CC-B209-F9D7CB866B50}" type="presParOf" srcId="{DFA3A91B-E297-4234-BFEC-E07215C4A4F0}" destId="{CE602C07-2778-4BEB-9377-8EF46EEC3364}" srcOrd="1" destOrd="0" presId="urn:microsoft.com/office/officeart/2005/8/layout/orgChart1"/>
    <dgm:cxn modelId="{16DF71A8-376C-46AF-B665-ECA2F17CCDAF}" type="presParOf" srcId="{CE602C07-2778-4BEB-9377-8EF46EEC3364}" destId="{F3A6A1AF-C065-491A-9B9F-6AC6C886A573}" srcOrd="0" destOrd="0" presId="urn:microsoft.com/office/officeart/2005/8/layout/orgChart1"/>
    <dgm:cxn modelId="{C10A89EA-ABD0-4D88-A65D-50E98B51739C}" type="presParOf" srcId="{CE602C07-2778-4BEB-9377-8EF46EEC3364}" destId="{5AD9586A-22ED-482B-AB10-96CE9308A8D1}" srcOrd="1" destOrd="0" presId="urn:microsoft.com/office/officeart/2005/8/layout/orgChart1"/>
    <dgm:cxn modelId="{B68C1E7F-2306-4BAD-93C4-5BAA36D15812}" type="presParOf" srcId="{5AD9586A-22ED-482B-AB10-96CE9308A8D1}" destId="{BC401DEC-D9EE-4A52-A4BF-CD5CF4CE95EB}" srcOrd="0" destOrd="0" presId="urn:microsoft.com/office/officeart/2005/8/layout/orgChart1"/>
    <dgm:cxn modelId="{F9B71188-6CEC-41ED-BE8C-0DB8E7269B5C}" type="presParOf" srcId="{BC401DEC-D9EE-4A52-A4BF-CD5CF4CE95EB}" destId="{A8A43A45-90AB-4F0B-9084-0D14C71D65E1}" srcOrd="0" destOrd="0" presId="urn:microsoft.com/office/officeart/2005/8/layout/orgChart1"/>
    <dgm:cxn modelId="{774BE688-3531-4607-8FF6-76148BD2EB74}" type="presParOf" srcId="{BC401DEC-D9EE-4A52-A4BF-CD5CF4CE95EB}" destId="{2C183873-6D40-4E8A-85C6-17B11FDDE65A}" srcOrd="1" destOrd="0" presId="urn:microsoft.com/office/officeart/2005/8/layout/orgChart1"/>
    <dgm:cxn modelId="{EE377399-4DBE-4AB0-AAD3-2672BC783E23}" type="presParOf" srcId="{5AD9586A-22ED-482B-AB10-96CE9308A8D1}" destId="{5021666D-94CC-42EC-8201-FC8D1D0E328B}" srcOrd="1" destOrd="0" presId="urn:microsoft.com/office/officeart/2005/8/layout/orgChart1"/>
    <dgm:cxn modelId="{00F36B58-B651-4EEE-A8B9-CF37BEC7FCAB}" type="presParOf" srcId="{5AD9586A-22ED-482B-AB10-96CE9308A8D1}" destId="{98B6BC08-FD7A-4592-83DE-B656F5E44A89}" srcOrd="2" destOrd="0" presId="urn:microsoft.com/office/officeart/2005/8/layout/orgChart1"/>
    <dgm:cxn modelId="{93DA4626-D1E3-4C27-930D-A3CE17C31EC6}" type="presParOf" srcId="{CE602C07-2778-4BEB-9377-8EF46EEC3364}" destId="{4C203ED4-6493-487D-88B2-D43CA89A714C}" srcOrd="2" destOrd="0" presId="urn:microsoft.com/office/officeart/2005/8/layout/orgChart1"/>
    <dgm:cxn modelId="{63959EA9-C836-4F70-938D-D196A1374A44}" type="presParOf" srcId="{CE602C07-2778-4BEB-9377-8EF46EEC3364}" destId="{009DFB59-F6FC-441E-A568-A553B94CC9C6}" srcOrd="3" destOrd="0" presId="urn:microsoft.com/office/officeart/2005/8/layout/orgChart1"/>
    <dgm:cxn modelId="{FF243506-0234-4EE9-AD62-20CFC6A1850B}" type="presParOf" srcId="{009DFB59-F6FC-441E-A568-A553B94CC9C6}" destId="{E8118F91-3129-4A17-BAF4-8FEB49368EE0}" srcOrd="0" destOrd="0" presId="urn:microsoft.com/office/officeart/2005/8/layout/orgChart1"/>
    <dgm:cxn modelId="{DD65715A-CD77-4349-AFA4-B0C1EE8B1698}" type="presParOf" srcId="{E8118F91-3129-4A17-BAF4-8FEB49368EE0}" destId="{18F5216A-D74D-45D9-8EB3-3C45223454C9}" srcOrd="0" destOrd="0" presId="urn:microsoft.com/office/officeart/2005/8/layout/orgChart1"/>
    <dgm:cxn modelId="{4E2A0942-A59B-4A4D-B030-CAFD0B1B6A62}" type="presParOf" srcId="{E8118F91-3129-4A17-BAF4-8FEB49368EE0}" destId="{5F232BDD-EEA6-4F5D-A6CC-275A9E5D3873}" srcOrd="1" destOrd="0" presId="urn:microsoft.com/office/officeart/2005/8/layout/orgChart1"/>
    <dgm:cxn modelId="{E5145AF2-D995-4618-980D-FAC9D42B05D3}" type="presParOf" srcId="{009DFB59-F6FC-441E-A568-A553B94CC9C6}" destId="{A3B50B12-D250-49E7-A2FA-7E84645D48B9}" srcOrd="1" destOrd="0" presId="urn:microsoft.com/office/officeart/2005/8/layout/orgChart1"/>
    <dgm:cxn modelId="{7CA96B0A-F4B3-46B3-8909-21737D821490}" type="presParOf" srcId="{009DFB59-F6FC-441E-A568-A553B94CC9C6}" destId="{75B866EA-8F3B-4F0C-AC85-B5DDD3C05A5B}" srcOrd="2" destOrd="0" presId="urn:microsoft.com/office/officeart/2005/8/layout/orgChart1"/>
    <dgm:cxn modelId="{D1C945E1-035A-42FE-933A-EE77EBCFF37E}" type="presParOf" srcId="{CE602C07-2778-4BEB-9377-8EF46EEC3364}" destId="{6BE74CAF-23C6-4A5D-A858-3A2C21F0676F}" srcOrd="4" destOrd="0" presId="urn:microsoft.com/office/officeart/2005/8/layout/orgChart1"/>
    <dgm:cxn modelId="{FB4C4DA6-D16E-4A08-B6A5-BD73F2F1133B}" type="presParOf" srcId="{CE602C07-2778-4BEB-9377-8EF46EEC3364}" destId="{E1E7F1FE-AED2-46BA-B0AC-9AA98902DDA6}" srcOrd="5" destOrd="0" presId="urn:microsoft.com/office/officeart/2005/8/layout/orgChart1"/>
    <dgm:cxn modelId="{021A1E5D-6B7E-4DBA-AE6A-914973984A78}" type="presParOf" srcId="{E1E7F1FE-AED2-46BA-B0AC-9AA98902DDA6}" destId="{F7677E96-9016-46F8-A187-0A9136AC6B62}" srcOrd="0" destOrd="0" presId="urn:microsoft.com/office/officeart/2005/8/layout/orgChart1"/>
    <dgm:cxn modelId="{1B311FC7-C1FF-488B-BE71-592968C96D05}" type="presParOf" srcId="{F7677E96-9016-46F8-A187-0A9136AC6B62}" destId="{427A19DC-BCE0-44E5-BFEE-E56D90F4D79D}" srcOrd="0" destOrd="0" presId="urn:microsoft.com/office/officeart/2005/8/layout/orgChart1"/>
    <dgm:cxn modelId="{0166F830-AB3D-4617-9F71-A7F91060D395}" type="presParOf" srcId="{F7677E96-9016-46F8-A187-0A9136AC6B62}" destId="{3A4B4255-6EBC-4DB4-B121-4EA590078506}" srcOrd="1" destOrd="0" presId="urn:microsoft.com/office/officeart/2005/8/layout/orgChart1"/>
    <dgm:cxn modelId="{BC32BFB9-4D65-4D48-8ADA-9B5E60FE6055}" type="presParOf" srcId="{E1E7F1FE-AED2-46BA-B0AC-9AA98902DDA6}" destId="{47C0A63B-F66A-4F6E-B16C-5F20B0CEF754}" srcOrd="1" destOrd="0" presId="urn:microsoft.com/office/officeart/2005/8/layout/orgChart1"/>
    <dgm:cxn modelId="{1A6BEF7F-2C7D-426A-9C70-C01EF72A70D8}" type="presParOf" srcId="{E1E7F1FE-AED2-46BA-B0AC-9AA98902DDA6}" destId="{A9169E22-EB94-4EB9-A078-40FD62E86719}" srcOrd="2" destOrd="0" presId="urn:microsoft.com/office/officeart/2005/8/layout/orgChart1"/>
    <dgm:cxn modelId="{61BDC13C-143B-4A63-96E8-F0999D95BB1B}" type="presParOf" srcId="{CE602C07-2778-4BEB-9377-8EF46EEC3364}" destId="{A4260DFB-585E-4A73-816C-F9AEEDDA9394}" srcOrd="6" destOrd="0" presId="urn:microsoft.com/office/officeart/2005/8/layout/orgChart1"/>
    <dgm:cxn modelId="{0C4148E1-3125-4141-8F71-CA315484B3AD}" type="presParOf" srcId="{CE602C07-2778-4BEB-9377-8EF46EEC3364}" destId="{65359CC4-1199-40A6-9A5D-E339CCE06195}" srcOrd="7" destOrd="0" presId="urn:microsoft.com/office/officeart/2005/8/layout/orgChart1"/>
    <dgm:cxn modelId="{D2412DA6-A49C-4899-A184-4E6D22A58FF6}" type="presParOf" srcId="{65359CC4-1199-40A6-9A5D-E339CCE06195}" destId="{685BD7F1-E41B-4D8B-83BF-47C6EAEA87D0}" srcOrd="0" destOrd="0" presId="urn:microsoft.com/office/officeart/2005/8/layout/orgChart1"/>
    <dgm:cxn modelId="{073249EC-40BC-4352-AC24-51ABA74E84DC}" type="presParOf" srcId="{685BD7F1-E41B-4D8B-83BF-47C6EAEA87D0}" destId="{93931096-6600-46C3-98DA-74AC02AC0B71}" srcOrd="0" destOrd="0" presId="urn:microsoft.com/office/officeart/2005/8/layout/orgChart1"/>
    <dgm:cxn modelId="{5453A546-1605-4975-B242-3320EFE9087C}" type="presParOf" srcId="{685BD7F1-E41B-4D8B-83BF-47C6EAEA87D0}" destId="{FCDEEE3A-FB67-4F1F-BECE-E1F592365CFC}" srcOrd="1" destOrd="0" presId="urn:microsoft.com/office/officeart/2005/8/layout/orgChart1"/>
    <dgm:cxn modelId="{6D69C3C8-6F28-489E-98D1-16F1370F09B7}" type="presParOf" srcId="{65359CC4-1199-40A6-9A5D-E339CCE06195}" destId="{02632E63-6953-4BBB-9358-D0D0A0F62BB7}" srcOrd="1" destOrd="0" presId="urn:microsoft.com/office/officeart/2005/8/layout/orgChart1"/>
    <dgm:cxn modelId="{CED04932-ED2E-4755-9A9B-F8D86D5F3E3E}" type="presParOf" srcId="{65359CC4-1199-40A6-9A5D-E339CCE06195}" destId="{6356888D-CFDB-4DAB-958C-0207B0E8E05F}" srcOrd="2" destOrd="0" presId="urn:microsoft.com/office/officeart/2005/8/layout/orgChart1"/>
    <dgm:cxn modelId="{627FFD97-3FA1-43F8-BC7F-F1607E861100}" type="presParOf" srcId="{DFA3A91B-E297-4234-BFEC-E07215C4A4F0}" destId="{5BC729F7-A32A-4515-A574-DFBC30FDA19B}" srcOrd="2" destOrd="0" presId="urn:microsoft.com/office/officeart/2005/8/layout/orgChart1"/>
    <dgm:cxn modelId="{0D65AE45-C4B7-4B15-BA69-2C7CC2136C90}" type="presParOf" srcId="{B3767120-1D84-4CBF-A42A-7963C47D4D0B}" destId="{04B36B14-FDED-4614-BB74-97EE5BB8F52D}" srcOrd="4" destOrd="0" presId="urn:microsoft.com/office/officeart/2005/8/layout/orgChart1"/>
    <dgm:cxn modelId="{CA30B9E4-D00B-4F37-B12D-94B44B4E97D3}" type="presParOf" srcId="{B3767120-1D84-4CBF-A42A-7963C47D4D0B}" destId="{106AC147-102C-49EA-AA5F-EF5284021786}" srcOrd="5" destOrd="0" presId="urn:microsoft.com/office/officeart/2005/8/layout/orgChart1"/>
    <dgm:cxn modelId="{1841EDF5-A9BC-4156-BBE4-D5B7C3A9E5D1}" type="presParOf" srcId="{106AC147-102C-49EA-AA5F-EF5284021786}" destId="{A185BBF1-A3C4-4167-BD2D-01117B8865F1}" srcOrd="0" destOrd="0" presId="urn:microsoft.com/office/officeart/2005/8/layout/orgChart1"/>
    <dgm:cxn modelId="{15CA7C13-37A1-4A02-B047-FE4F965115DA}" type="presParOf" srcId="{A185BBF1-A3C4-4167-BD2D-01117B8865F1}" destId="{6F5EABE9-ADCF-4968-81B3-04689CB922B9}" srcOrd="0" destOrd="0" presId="urn:microsoft.com/office/officeart/2005/8/layout/orgChart1"/>
    <dgm:cxn modelId="{6B530852-021B-4889-8B9B-2E8178BE5165}" type="presParOf" srcId="{A185BBF1-A3C4-4167-BD2D-01117B8865F1}" destId="{492EE907-4099-4D6E-8EF8-4A500681DBF1}" srcOrd="1" destOrd="0" presId="urn:microsoft.com/office/officeart/2005/8/layout/orgChart1"/>
    <dgm:cxn modelId="{0AF75155-0D03-4947-9D9E-71EA8C70E77B}" type="presParOf" srcId="{106AC147-102C-49EA-AA5F-EF5284021786}" destId="{604BD7F7-0389-4ECB-B419-E102FB55CEAC}" srcOrd="1" destOrd="0" presId="urn:microsoft.com/office/officeart/2005/8/layout/orgChart1"/>
    <dgm:cxn modelId="{2FFE8FED-D4BF-4DF7-97D7-5D5121FA1D04}" type="presParOf" srcId="{604BD7F7-0389-4ECB-B419-E102FB55CEAC}" destId="{900AFB7F-2B1C-4F2F-90FD-534B3C5D185A}" srcOrd="0" destOrd="0" presId="urn:microsoft.com/office/officeart/2005/8/layout/orgChart1"/>
    <dgm:cxn modelId="{D9B3FA0F-0E12-4F52-8B52-EBEB9205228F}" type="presParOf" srcId="{604BD7F7-0389-4ECB-B419-E102FB55CEAC}" destId="{D2CE9645-9167-4CA8-9FAC-E5772265F1F1}" srcOrd="1" destOrd="0" presId="urn:microsoft.com/office/officeart/2005/8/layout/orgChart1"/>
    <dgm:cxn modelId="{1D5A2929-56DB-493E-A182-7628BE2A7BE2}" type="presParOf" srcId="{D2CE9645-9167-4CA8-9FAC-E5772265F1F1}" destId="{C62351E5-F559-42B9-866D-4EA52F6E0AC4}" srcOrd="0" destOrd="0" presId="urn:microsoft.com/office/officeart/2005/8/layout/orgChart1"/>
    <dgm:cxn modelId="{AD553E32-CAF8-4D7C-9787-5BE069F4F954}" type="presParOf" srcId="{C62351E5-F559-42B9-866D-4EA52F6E0AC4}" destId="{7F2C8B3F-CC73-4AF4-B493-142FDFBE4550}" srcOrd="0" destOrd="0" presId="urn:microsoft.com/office/officeart/2005/8/layout/orgChart1"/>
    <dgm:cxn modelId="{E4D048EC-216B-40E5-ACF3-9DF812928117}" type="presParOf" srcId="{C62351E5-F559-42B9-866D-4EA52F6E0AC4}" destId="{91F4DFD6-08F3-4398-8E0A-317B7ABFFAC4}" srcOrd="1" destOrd="0" presId="urn:microsoft.com/office/officeart/2005/8/layout/orgChart1"/>
    <dgm:cxn modelId="{ED2A265B-53E8-470A-B6DE-A42E0BE1CE03}" type="presParOf" srcId="{D2CE9645-9167-4CA8-9FAC-E5772265F1F1}" destId="{5A4AA5E7-9412-4F52-B3B0-D34C8376690E}" srcOrd="1" destOrd="0" presId="urn:microsoft.com/office/officeart/2005/8/layout/orgChart1"/>
    <dgm:cxn modelId="{1F2A6010-2D42-4D8C-91E2-3D632B4E83E9}" type="presParOf" srcId="{D2CE9645-9167-4CA8-9FAC-E5772265F1F1}" destId="{56D83448-7242-4F44-A164-1F2F2EA1B593}" srcOrd="2" destOrd="0" presId="urn:microsoft.com/office/officeart/2005/8/layout/orgChart1"/>
    <dgm:cxn modelId="{4887EF07-2210-46C0-8053-F3F7C338CB69}" type="presParOf" srcId="{604BD7F7-0389-4ECB-B419-E102FB55CEAC}" destId="{780BE9DB-483E-4D39-959E-0895D44A0731}" srcOrd="2" destOrd="0" presId="urn:microsoft.com/office/officeart/2005/8/layout/orgChart1"/>
    <dgm:cxn modelId="{B1F22E8A-4471-4E8E-8667-5F8F80DC6B05}" type="presParOf" srcId="{604BD7F7-0389-4ECB-B419-E102FB55CEAC}" destId="{460E50AD-5371-4F35-81B3-87C773ED6693}" srcOrd="3" destOrd="0" presId="urn:microsoft.com/office/officeart/2005/8/layout/orgChart1"/>
    <dgm:cxn modelId="{29E613A6-86C2-4D1C-9014-CF39AE73A205}" type="presParOf" srcId="{460E50AD-5371-4F35-81B3-87C773ED6693}" destId="{D9F28B0D-1A61-48BA-B550-A33256A06117}" srcOrd="0" destOrd="0" presId="urn:microsoft.com/office/officeart/2005/8/layout/orgChart1"/>
    <dgm:cxn modelId="{F578EE14-7111-4C34-9E79-30F4D3A365A1}" type="presParOf" srcId="{D9F28B0D-1A61-48BA-B550-A33256A06117}" destId="{A3E4031B-8BAB-4B77-A326-269F825A8EE1}" srcOrd="0" destOrd="0" presId="urn:microsoft.com/office/officeart/2005/8/layout/orgChart1"/>
    <dgm:cxn modelId="{87E34D96-39F2-4282-BCF6-B6916FDB2492}" type="presParOf" srcId="{D9F28B0D-1A61-48BA-B550-A33256A06117}" destId="{B9C07A85-7AF3-4DDB-BED5-54AAA28C4482}" srcOrd="1" destOrd="0" presId="urn:microsoft.com/office/officeart/2005/8/layout/orgChart1"/>
    <dgm:cxn modelId="{FBDEF4A0-11C1-4101-A02C-5E61E521F913}" type="presParOf" srcId="{460E50AD-5371-4F35-81B3-87C773ED6693}" destId="{07BC0911-8342-4145-9032-C569E224ADCB}" srcOrd="1" destOrd="0" presId="urn:microsoft.com/office/officeart/2005/8/layout/orgChart1"/>
    <dgm:cxn modelId="{3DA5168B-4436-4297-8D64-97F5B377135D}" type="presParOf" srcId="{460E50AD-5371-4F35-81B3-87C773ED6693}" destId="{0667F164-DD16-4F5D-93FD-59C74A5582C8}" srcOrd="2" destOrd="0" presId="urn:microsoft.com/office/officeart/2005/8/layout/orgChart1"/>
    <dgm:cxn modelId="{020DEB3B-6B45-424D-98E4-5D4D617664C7}" type="presParOf" srcId="{604BD7F7-0389-4ECB-B419-E102FB55CEAC}" destId="{2DC61ABF-E910-4668-AC4D-DCE4666050B7}" srcOrd="4" destOrd="0" presId="urn:microsoft.com/office/officeart/2005/8/layout/orgChart1"/>
    <dgm:cxn modelId="{BD02FAC9-7D93-4B7B-A2F6-2D896423F48E}" type="presParOf" srcId="{604BD7F7-0389-4ECB-B419-E102FB55CEAC}" destId="{3454CB2C-D682-4DEB-A40B-3AEEDD28A417}" srcOrd="5" destOrd="0" presId="urn:microsoft.com/office/officeart/2005/8/layout/orgChart1"/>
    <dgm:cxn modelId="{38ED9CF1-A6F1-4704-93C9-D8EA37B592FA}" type="presParOf" srcId="{3454CB2C-D682-4DEB-A40B-3AEEDD28A417}" destId="{A95599C7-0F16-49D6-A9DD-F40939777744}" srcOrd="0" destOrd="0" presId="urn:microsoft.com/office/officeart/2005/8/layout/orgChart1"/>
    <dgm:cxn modelId="{D37F3CA6-9086-45A8-B436-6599F9B81FCF}" type="presParOf" srcId="{A95599C7-0F16-49D6-A9DD-F40939777744}" destId="{0EBD0C9E-C5E6-406F-9F73-CA840D3FE333}" srcOrd="0" destOrd="0" presId="urn:microsoft.com/office/officeart/2005/8/layout/orgChart1"/>
    <dgm:cxn modelId="{E3052DA0-036C-4E1E-B532-6215F4FD2376}" type="presParOf" srcId="{A95599C7-0F16-49D6-A9DD-F40939777744}" destId="{A41CEC88-C1B6-4DFE-9124-424CC4E8FAC8}" srcOrd="1" destOrd="0" presId="urn:microsoft.com/office/officeart/2005/8/layout/orgChart1"/>
    <dgm:cxn modelId="{7E994F7B-B1BB-4E78-B5D0-7DFE538C443D}" type="presParOf" srcId="{3454CB2C-D682-4DEB-A40B-3AEEDD28A417}" destId="{A8EFCFF7-536A-4643-A203-9BB463116D8E}" srcOrd="1" destOrd="0" presId="urn:microsoft.com/office/officeart/2005/8/layout/orgChart1"/>
    <dgm:cxn modelId="{BBD920C2-C7C9-4C4E-B8F8-34D0D5864EAB}" type="presParOf" srcId="{3454CB2C-D682-4DEB-A40B-3AEEDD28A417}" destId="{98714119-8ADF-45C3-B151-69A6569B4C69}" srcOrd="2" destOrd="0" presId="urn:microsoft.com/office/officeart/2005/8/layout/orgChart1"/>
    <dgm:cxn modelId="{D62A0E3F-A339-4010-9649-172F3860F460}" type="presParOf" srcId="{604BD7F7-0389-4ECB-B419-E102FB55CEAC}" destId="{1679F611-1768-4DF1-92D2-2ABA33F52954}" srcOrd="6" destOrd="0" presId="urn:microsoft.com/office/officeart/2005/8/layout/orgChart1"/>
    <dgm:cxn modelId="{35B7CCD4-5D27-4935-A08F-8860CFB99567}" type="presParOf" srcId="{604BD7F7-0389-4ECB-B419-E102FB55CEAC}" destId="{3EB3B2BF-83E3-43EC-8B4A-22E5A8006260}" srcOrd="7" destOrd="0" presId="urn:microsoft.com/office/officeart/2005/8/layout/orgChart1"/>
    <dgm:cxn modelId="{837110D9-36F7-4D38-9601-D431620FFF4D}" type="presParOf" srcId="{3EB3B2BF-83E3-43EC-8B4A-22E5A8006260}" destId="{AF597625-1C9B-4EFB-89C7-964B32D14CF1}" srcOrd="0" destOrd="0" presId="urn:microsoft.com/office/officeart/2005/8/layout/orgChart1"/>
    <dgm:cxn modelId="{0F7A915B-11CE-4B03-8B21-CFE7B95782D0}" type="presParOf" srcId="{AF597625-1C9B-4EFB-89C7-964B32D14CF1}" destId="{BC6D9694-E2FB-466A-9121-F6DA2CA4E423}" srcOrd="0" destOrd="0" presId="urn:microsoft.com/office/officeart/2005/8/layout/orgChart1"/>
    <dgm:cxn modelId="{33C068A8-C7C7-4E33-B3CF-9EF7B807E00A}" type="presParOf" srcId="{AF597625-1C9B-4EFB-89C7-964B32D14CF1}" destId="{ED85CF53-B366-40FC-A1B2-AC0A7E230913}" srcOrd="1" destOrd="0" presId="urn:microsoft.com/office/officeart/2005/8/layout/orgChart1"/>
    <dgm:cxn modelId="{4F9D07B2-43F9-4FF8-9F60-6CEC901EE7F9}" type="presParOf" srcId="{3EB3B2BF-83E3-43EC-8B4A-22E5A8006260}" destId="{516CA77B-2490-4C12-BE3E-3D3BE5F54CF1}" srcOrd="1" destOrd="0" presId="urn:microsoft.com/office/officeart/2005/8/layout/orgChart1"/>
    <dgm:cxn modelId="{981D938A-21AB-4C23-A1CF-DD2AE8192C00}" type="presParOf" srcId="{3EB3B2BF-83E3-43EC-8B4A-22E5A8006260}" destId="{0992B6CE-88A6-4CA3-BBCB-69055B955878}" srcOrd="2" destOrd="0" presId="urn:microsoft.com/office/officeart/2005/8/layout/orgChart1"/>
    <dgm:cxn modelId="{0CB34F79-0933-4DD3-AAB8-52CA301A0746}" type="presParOf" srcId="{604BD7F7-0389-4ECB-B419-E102FB55CEAC}" destId="{9546EDD2-AE2D-4CCC-A153-7110360B9BEC}" srcOrd="8" destOrd="0" presId="urn:microsoft.com/office/officeart/2005/8/layout/orgChart1"/>
    <dgm:cxn modelId="{478E7345-7FF7-4978-A07A-678AB3F583DD}" type="presParOf" srcId="{604BD7F7-0389-4ECB-B419-E102FB55CEAC}" destId="{9FE3402F-57AD-46ED-9414-75CC69E8BB3C}" srcOrd="9" destOrd="0" presId="urn:microsoft.com/office/officeart/2005/8/layout/orgChart1"/>
    <dgm:cxn modelId="{1B90C90A-FEC3-41FF-ADF6-FA9FECE6558F}" type="presParOf" srcId="{9FE3402F-57AD-46ED-9414-75CC69E8BB3C}" destId="{8C2A3C82-3AAD-41A6-82CB-8B35916F6F8D}" srcOrd="0" destOrd="0" presId="urn:microsoft.com/office/officeart/2005/8/layout/orgChart1"/>
    <dgm:cxn modelId="{F0C81B19-5FB7-4F79-B69E-2512A2D7EA7F}" type="presParOf" srcId="{8C2A3C82-3AAD-41A6-82CB-8B35916F6F8D}" destId="{34C6C65D-2FB2-4BC6-85E7-4981197D899A}" srcOrd="0" destOrd="0" presId="urn:microsoft.com/office/officeart/2005/8/layout/orgChart1"/>
    <dgm:cxn modelId="{9516289D-FF8E-49EC-8465-F4AC5288A0C7}" type="presParOf" srcId="{8C2A3C82-3AAD-41A6-82CB-8B35916F6F8D}" destId="{D9F8732B-C34D-4E46-89C0-591665126EF3}" srcOrd="1" destOrd="0" presId="urn:microsoft.com/office/officeart/2005/8/layout/orgChart1"/>
    <dgm:cxn modelId="{F2C6D23C-FEB3-46BA-88C6-9A1963184CAB}" type="presParOf" srcId="{9FE3402F-57AD-46ED-9414-75CC69E8BB3C}" destId="{1E256350-75A4-4879-934C-E6C51E7ACD72}" srcOrd="1" destOrd="0" presId="urn:microsoft.com/office/officeart/2005/8/layout/orgChart1"/>
    <dgm:cxn modelId="{A649B25B-BC33-4A19-816B-91323CF42565}" type="presParOf" srcId="{9FE3402F-57AD-46ED-9414-75CC69E8BB3C}" destId="{23AD8370-2A2A-4C04-815A-4FA7C374EABB}" srcOrd="2" destOrd="0" presId="urn:microsoft.com/office/officeart/2005/8/layout/orgChart1"/>
    <dgm:cxn modelId="{9711342F-626B-4EA8-96F2-69D07A619F03}" type="presParOf" srcId="{106AC147-102C-49EA-AA5F-EF5284021786}" destId="{DC47B5BE-0D25-4337-B97F-303E26D4FF58}" srcOrd="2" destOrd="0" presId="urn:microsoft.com/office/officeart/2005/8/layout/orgChart1"/>
    <dgm:cxn modelId="{63999A6F-E262-456E-AF6A-830B280B74A9}" type="presParOf" srcId="{ADF78B51-FF65-46D3-95B4-403BD752DD8A}" destId="{A01BFD0A-DF36-4B6D-9BA0-3A05A52ED7B1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EB5C877-C77B-47BD-825A-482B3EB5DF5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030A46-7792-4815-B57B-046A07F0140A}">
      <dgm:prSet phldrT="[Text]" custT="1"/>
      <dgm:spPr>
        <a:solidFill>
          <a:schemeClr val="accent6">
            <a:lumMod val="75000"/>
          </a:schemeClr>
        </a:solidFill>
        <a:ln w="38100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VP Processing &amp; Maintenance Operation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Mike Barber</a:t>
          </a:r>
        </a:p>
      </dgm:t>
    </dgm:pt>
    <dgm:pt modelId="{93793C77-22A1-4452-AA5B-CD75C3A2088D}" type="parTrans" cxnId="{39718F2F-F1BB-4543-94B9-E375F01D1237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23F7F991-0E15-4B2C-9412-38FC07AC3355}" type="sibTrans" cxnId="{39718F2F-F1BB-4543-94B9-E375F01D1237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C4171510-A219-4D73-ABD0-9340201AB08B}">
      <dgm:prSet phldrT="[Text]" custT="1"/>
      <dgm:spPr>
        <a:solidFill>
          <a:schemeClr val="accent6">
            <a:lumMod val="75000"/>
          </a:schemeClr>
        </a:solidFill>
        <a:ln w="38100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VP Logistic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Robert Cintron</a:t>
          </a:r>
        </a:p>
      </dgm:t>
    </dgm:pt>
    <dgm:pt modelId="{C596D3E0-CF1C-4186-873C-266C0BDDA405}" type="parTrans" cxnId="{0C7711AA-3347-45A2-BD1F-7A8F83B66F66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55F7E4BD-CE46-4672-9F79-FC039A5ADB47}" type="sibTrans" cxnId="{0C7711AA-3347-45A2-BD1F-7A8F83B66F66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25AF2A20-742B-4B54-82EE-1A36C3C1A1C1}">
      <dgm:prSet phldrT="[Text]" custT="1"/>
      <dgm:spPr>
        <a:solidFill>
          <a:schemeClr val="accent6">
            <a:lumMod val="75000"/>
          </a:schemeClr>
        </a:solidFill>
        <a:ln w="38100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VP Regional Processing Operations Eastern 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Dane Coleman</a:t>
          </a:r>
        </a:p>
      </dgm:t>
    </dgm:pt>
    <dgm:pt modelId="{DD5605C9-86D4-46AB-815E-97791D76E890}" type="parTrans" cxnId="{DDE97A23-B107-4301-843B-9FAB7A3824CE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DB2CF243-4E5E-43F5-BC45-86118435809D}" type="sibTrans" cxnId="{DDE97A23-B107-4301-843B-9FAB7A3824CE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735E0ECF-1473-4459-9782-B3BFD89D844B}">
      <dgm:prSet phldrT="[Text]" custT="1"/>
      <dgm:spPr>
        <a:solidFill>
          <a:schemeClr val="accent1">
            <a:lumMod val="75000"/>
          </a:schemeClr>
        </a:solidFill>
        <a:ln w="38100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Chief Logistics &amp; Processing Operations </a:t>
          </a:r>
          <a:r>
            <a:rPr lang="en-US" sz="900" b="0" dirty="0">
              <a:solidFill>
                <a:schemeClr val="bg1"/>
              </a:solidFill>
              <a:latin typeface="+mn-lt"/>
            </a:rPr>
            <a:t>Officer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Isaac Cronkhite</a:t>
          </a:r>
        </a:p>
      </dgm:t>
    </dgm:pt>
    <dgm:pt modelId="{90F12E4B-19E3-4560-90AB-454891BF7004}" type="parTrans" cxnId="{D9E37111-B8E5-4806-AAD1-7B9FA8B19E12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ACF038FB-1CE1-4A98-8F2E-9A6C83F1B13E}" type="sibTrans" cxnId="{D9E37111-B8E5-4806-AAD1-7B9FA8B19E12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D9AFF782-FE71-42BB-99D0-C8D65EEC9AB8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VP Regional Processing Operations Western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Larry Munoz</a:t>
          </a:r>
        </a:p>
      </dgm:t>
    </dgm:pt>
    <dgm:pt modelId="{CC20C97E-EFDD-4A67-821C-3B85E1B7A98A}" type="parTrans" cxnId="{180A7198-8CF4-4565-9B33-A7FE4FD6A189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9D23B64F-CF42-49F8-8317-84814164169C}" type="sibTrans" cxnId="{180A7198-8CF4-4565-9B33-A7FE4FD6A189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EB027484-7CEA-4CBE-BF58-C09DD2571399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Maintenance Operations HQ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Kevin Couch</a:t>
          </a:r>
        </a:p>
      </dgm:t>
    </dgm:pt>
    <dgm:pt modelId="{9F1142D6-E2EB-4B62-9657-E1BFD7D3F930}" type="parTrans" cxnId="{5DE9968B-CBA3-4207-95E2-F8184BAEC330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7E2DFD20-B35C-4A34-A97B-6B21C5343AD5}" type="sibTrans" cxnId="{5DE9968B-CBA3-4207-95E2-F8184BAEC330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3F407392-4167-4C51-A077-D7329DB2CED1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eration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Kristina Reynoso</a:t>
          </a:r>
        </a:p>
      </dgm:t>
    </dgm:pt>
    <dgm:pt modelId="{2B5C111A-46A9-4164-9BED-60CE7D0DEFD1}" type="parTrans" cxnId="{CB138089-4E9F-49D4-A965-67B2284B85F7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32346728-CBD2-4171-9AB1-F5DFDB148C4F}" type="sibTrans" cxnId="{CB138089-4E9F-49D4-A965-67B2284B85F7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16816A87-973E-4B4F-A654-1165D3D6BD11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International Processing Op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Jeff Becker</a:t>
          </a:r>
        </a:p>
      </dgm:t>
    </dgm:pt>
    <dgm:pt modelId="{A097BC90-7C7B-4417-B541-121A504AFDFB}" type="parTrans" cxnId="{46B04127-D0A8-4C5E-894B-CE18DD1B80E5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1455817B-A8D7-45E2-9E06-FEB2383BDF0C}" type="sibTrans" cxnId="{46B04127-D0A8-4C5E-894B-CE18DD1B80E5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735612C9-9748-445A-8901-0517F5E97322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Operations Integration &amp; Support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Erika Ramirez</a:t>
          </a:r>
        </a:p>
      </dgm:t>
    </dgm:pt>
    <dgm:pt modelId="{5AA235E6-8A4F-4D6A-81B1-691C8B486EDE}" type="parTrans" cxnId="{02DFD0CC-2538-4C00-AA64-07624E871026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AEDFDEFD-BDA8-47FD-87F7-6763CD7FB148}" type="sibTrans" cxnId="{02DFD0CC-2538-4C00-AA64-07624E871026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A3996FD5-4B24-43FC-9B73-EB82E12E15BD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International Logistic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Claire Perez-Redondo</a:t>
          </a:r>
        </a:p>
      </dgm:t>
    </dgm:pt>
    <dgm:pt modelId="{D31CC421-290B-41DD-B006-DFB813BBC81E}" type="parTrans" cxnId="{1A46E2A8-2BAF-4F06-BD1D-31E4878853E3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354B113F-3523-4050-AF52-AC08D8151D46}" type="sibTrans" cxnId="{1A46E2A8-2BAF-4F06-BD1D-31E4878853E3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B35741F1-64E8-425C-8768-F1973D6B9FCD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Air Logistic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Mary Taylor</a:t>
          </a:r>
        </a:p>
      </dgm:t>
    </dgm:pt>
    <dgm:pt modelId="{F7724F3E-23A6-4AE0-9E34-B131A4643726}" type="parTrans" cxnId="{0E72D436-B8EE-4BEE-AA3A-24FF9B257880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8B689FC8-9BB4-4215-BCC7-149B8015AFDB}" type="sibTrans" cxnId="{0E72D436-B8EE-4BEE-AA3A-24FF9B257880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EF0A4041-6C46-4B93-AC8F-400BFAEA32CE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Surface Logistic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Brent Raney</a:t>
          </a:r>
        </a:p>
      </dgm:t>
    </dgm:pt>
    <dgm:pt modelId="{B3DF8B2E-F63B-4C81-B13E-ACAE6BECD028}" type="parTrans" cxnId="{27C8FB17-792C-4ABD-B119-C78631A2B968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4FD8CD33-F03F-4380-9B0F-0F5E88BBD306}" type="sibTrans" cxnId="{27C8FB17-792C-4ABD-B119-C78631A2B968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A4BA30C2-EE2A-4C06-9F5B-E5D4035B17CC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Logistics &amp; Modeling Analytic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Stephen Hagenstein</a:t>
          </a:r>
        </a:p>
      </dgm:t>
    </dgm:pt>
    <dgm:pt modelId="{C2BCB542-154D-41AA-BC2F-0175A751E962}" type="parTrans" cxnId="{CF994ADA-1817-41AD-A61F-47E09902D3D0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ED78C04B-1E00-40C4-9DDF-16B2B13BAE0C}" type="sibTrans" cxnId="{CF994ADA-1817-41AD-A61F-47E09902D3D0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715F685F-1B97-4735-9D7D-F06EC3224C5B}">
      <dgm:prSet phldrT="[Text]" custT="1"/>
      <dgm:spPr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New England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Christine Young</a:t>
          </a:r>
        </a:p>
      </dgm:t>
    </dgm:pt>
    <dgm:pt modelId="{FD10F90F-B12D-4036-82A3-E1375D5847BB}" type="parTrans" cxnId="{323899A7-DC80-4FAC-8C77-2B5F7104424F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E45E934C-FA03-43C6-B0C5-1E366C0B57C1}" type="sibTrans" cxnId="{323899A7-DC80-4FAC-8C77-2B5F7104424F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0BFE6632-1AB2-41A4-A1CF-679F098C1CE8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Chesapeake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Dave Webster</a:t>
          </a:r>
        </a:p>
      </dgm:t>
    </dgm:pt>
    <dgm:pt modelId="{2285AABB-1B9B-4D96-92EB-A1ECC28EC77A}" type="parTrans" cxnId="{BF3E4157-32F8-4E4D-AAD4-0542AAD89A89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DCBB5A56-AC60-4485-9CF7-5DEBB8E7D79E}" type="sibTrans" cxnId="{BF3E4157-32F8-4E4D-AAD4-0542AAD89A89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145CDE4C-D961-40ED-AD5C-4F15CABC75FB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Lakeshore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Scott Tosch</a:t>
          </a:r>
        </a:p>
      </dgm:t>
    </dgm:pt>
    <dgm:pt modelId="{D1F08918-E87A-4827-96EB-197E1D459CA4}" type="parTrans" cxnId="{E22470A6-5529-4624-AFED-C98CADA68AC1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4B760262-8528-4642-BF4B-1AE4691717F0}" type="sibTrans" cxnId="{E22470A6-5529-4624-AFED-C98CADA68AC1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78529EF1-C1C6-4CD6-BDBF-4ADB1B3719D4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Division Mid-Atlantic 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Sharon Young</a:t>
          </a:r>
        </a:p>
      </dgm:t>
    </dgm:pt>
    <dgm:pt modelId="{5CF60ADD-7448-4FA0-B129-3579EFE6BDBF}" type="parTrans" cxnId="{A61EE544-CE24-4F3B-A5CE-4C7D53B1251F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2CE863CE-E8BB-4110-960E-C20F50638BCB}" type="sibTrans" cxnId="{A61EE544-CE24-4F3B-A5CE-4C7D53B1251F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C2E12818-6442-4FFE-AF51-2B8034F01904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Coastal Southeast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Mark Dahlstrom</a:t>
          </a:r>
        </a:p>
      </dgm:t>
    </dgm:pt>
    <dgm:pt modelId="{90625E7B-6F51-44B8-8D09-1D1DDBA1196A}" type="parTrans" cxnId="{D3AAEC83-5813-43B3-AF2D-5B107DC95D7A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6B8352BC-7427-4B2E-83EE-9E00425E76A5}" type="sibTrans" cxnId="{D3AAEC83-5813-43B3-AF2D-5B107DC95D7A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111E18F4-EF8B-4472-A2D1-E52F7FB4758B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New York Metro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Stephen Humin</a:t>
          </a:r>
        </a:p>
      </dgm:t>
    </dgm:pt>
    <dgm:pt modelId="{868AF991-4EBE-4263-87F3-E67A2033B966}" type="parTrans" cxnId="{010821BD-9140-496C-B874-2845674FAE91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5A391C39-3151-4BBC-A20E-ACFFA20617ED}" type="sibTrans" cxnId="{010821BD-9140-496C-B874-2845674FAE91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C57E2B08-C14F-4730-8F05-46A4E50E07A4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Westshore 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Todd Hawkins</a:t>
          </a:r>
        </a:p>
      </dgm:t>
    </dgm:pt>
    <dgm:pt modelId="{C578214E-0A14-4CEF-9DE7-9D43947495E8}" type="parTrans" cxnId="{5DCEFA4E-474D-4641-B9A2-5EFB6814B5B9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7BD763A0-B74E-43A3-82EC-2BE5ED2607C4}" type="sibTrans" cxnId="{5DCEFA4E-474D-4641-B9A2-5EFB6814B5B9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7CCC1F36-2DB0-4F7B-B68E-5AD0930837A4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      Mid-South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Chuck Sciurba</a:t>
          </a:r>
        </a:p>
      </dgm:t>
    </dgm:pt>
    <dgm:pt modelId="{35915763-0031-42C8-BC36-F3886FBA273E}" type="parTrans" cxnId="{AAB8B7B7-8B03-4579-878C-656416DE8E07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A7B49983-6680-407F-B5BF-DF132722C100}" type="sibTrans" cxnId="{AAB8B7B7-8B03-4579-878C-656416DE8E07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DAE2CEBD-542D-43AB-BA07-6EFDDF5C6135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Pacific Northwest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John Diperi</a:t>
          </a:r>
        </a:p>
      </dgm:t>
    </dgm:pt>
    <dgm:pt modelId="{7EEEA0F8-229D-441F-9E5A-7A6022DD9844}" type="parTrans" cxnId="{773ACF13-72DD-4E44-A744-86AE58E32183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B2CE2347-CD23-4E77-8EE2-A3E9E5D45FDC}" type="sibTrans" cxnId="{773ACF13-72DD-4E44-A744-86AE58E32183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AAC41667-D540-428A-8E75-4A12EB13EC01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Southern California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Britton Soto</a:t>
          </a:r>
        </a:p>
      </dgm:t>
    </dgm:pt>
    <dgm:pt modelId="{05D21AD6-D91C-4DBF-A630-E8D733B7496D}" type="parTrans" cxnId="{B6FF9D55-E477-448C-B6E8-53F9A17F7A45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8512352E-4EB2-420B-AB9F-AE13563EBE33}" type="sibTrans" cxnId="{B6FF9D55-E477-448C-B6E8-53F9A17F7A45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6DBB3597-3C04-4049-92F1-06AFC741A484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Midwest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Rick Pivovar</a:t>
          </a:r>
        </a:p>
      </dgm:t>
    </dgm:pt>
    <dgm:pt modelId="{BD54E422-EC94-4558-9536-4F99BD20C32B}" type="parTrans" cxnId="{199E3F01-772A-4A2B-A5BF-23D4A0D8AAF4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DF6B88A1-65D4-4CD1-B63A-DB42E49B80BF}" type="sibTrans" cxnId="{199E3F01-772A-4A2B-A5BF-23D4A0D8AAF4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60E23311-5A15-4A61-B576-FA949D3F2A3F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Processing Ops Southwest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Larry Wagener</a:t>
          </a:r>
        </a:p>
      </dgm:t>
    </dgm:pt>
    <dgm:pt modelId="{8513E0CD-EC2D-43A3-9E8A-79D1239C67AA}" type="parTrans" cxnId="{A6D4BFCE-CFCB-49E6-AF3B-315D07FCEF3D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0D93062E-E401-4D24-B88D-60AEBA0999EA}" type="sibTrans" cxnId="{A6D4BFCE-CFCB-49E6-AF3B-315D07FCEF3D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BFB12218-AA60-4734-930A-3690A4E28382}">
      <dgm:prSet phldrT="[Text]" custT="1"/>
      <dgm:spPr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r>
            <a:rPr lang="en-US" sz="900" kern="1200" dirty="0">
              <a:solidFill>
                <a:schemeClr val="bg1"/>
              </a:solidFill>
              <a:latin typeface="+mn-lt"/>
            </a:rPr>
            <a:t>Dir Operational </a:t>
          </a:r>
          <a:r>
            <a:rPr lang="en-US" sz="900" kern="1200" dirty="0">
              <a:solidFill>
                <a:schemeClr val="bg1"/>
              </a:solidFill>
              <a:latin typeface="+mn-lt"/>
              <a:ea typeface="+mn-ea"/>
              <a:cs typeface="+mn-cs"/>
            </a:rPr>
            <a:t>Excellence</a:t>
          </a:r>
          <a:r>
            <a:rPr lang="en-US" sz="900" kern="1200" dirty="0">
              <a:solidFill>
                <a:schemeClr val="bg1"/>
              </a:solidFill>
              <a:latin typeface="+mn-lt"/>
            </a:rPr>
            <a:t> </a:t>
          </a:r>
        </a:p>
        <a:p>
          <a:r>
            <a:rPr lang="en-US" sz="900" b="1" kern="1200" dirty="0">
              <a:solidFill>
                <a:schemeClr val="bg1"/>
              </a:solidFill>
              <a:latin typeface="+mn-lt"/>
            </a:rPr>
            <a:t>Julie Weiser</a:t>
          </a:r>
        </a:p>
      </dgm:t>
    </dgm:pt>
    <dgm:pt modelId="{ED3A2050-56C8-4E42-802B-51DA016DCD9B}" type="parTrans" cxnId="{28DB3D52-AAB4-451A-A811-05AC8C1847C8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D8B02DDF-7755-4456-82E7-1B3CB96E22B7}" type="sibTrans" cxnId="{28DB3D52-AAB4-451A-A811-05AC8C1847C8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55D3AE3F-3FF9-459E-AA41-4FFD3A4B530A}">
      <dgm:prSet phldrT="[Text]" custT="1"/>
      <dgm:spPr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r>
            <a:rPr lang="en-US" sz="900" kern="1200" dirty="0">
              <a:solidFill>
                <a:schemeClr val="bg1"/>
              </a:solidFill>
              <a:latin typeface="+mn-lt"/>
            </a:rPr>
            <a:t>Dir Strategic </a:t>
          </a:r>
          <a:r>
            <a:rPr lang="en-US" sz="900" kern="1200" dirty="0">
              <a:solidFill>
                <a:schemeClr val="bg1"/>
              </a:solidFill>
              <a:latin typeface="+mn-lt"/>
              <a:ea typeface="+mn-ea"/>
              <a:cs typeface="+mn-cs"/>
            </a:rPr>
            <a:t>Planning</a:t>
          </a:r>
          <a:r>
            <a:rPr lang="en-US" sz="900" kern="1200" dirty="0">
              <a:solidFill>
                <a:schemeClr val="bg1"/>
              </a:solidFill>
              <a:latin typeface="+mn-lt"/>
            </a:rPr>
            <a:t> </a:t>
          </a:r>
        </a:p>
        <a:p>
          <a:r>
            <a:rPr lang="en-US" sz="900" b="1" kern="1200" dirty="0">
              <a:solidFill>
                <a:schemeClr val="bg1"/>
              </a:solidFill>
              <a:latin typeface="+mn-lt"/>
            </a:rPr>
            <a:t>Jason DeChambeau</a:t>
          </a:r>
        </a:p>
      </dgm:t>
    </dgm:pt>
    <dgm:pt modelId="{33A946CB-810B-4292-955D-3DF60C7CCC01}" type="parTrans" cxnId="{8487FF88-8AF7-4784-B911-F74341B0E40A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32DB0A79-289B-4BA9-9212-0AFD503BC2FE}" type="sibTrans" cxnId="{8487FF88-8AF7-4784-B911-F74341B0E40A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43D09E61-C801-46FE-B2A8-596B45E28CE4}">
      <dgm:prSet phldrT="[Text]" custT="1"/>
      <dgm:spPr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pPr>
            <a:buNone/>
          </a:pPr>
          <a:r>
            <a:rPr lang="en-US" sz="900" dirty="0">
              <a:solidFill>
                <a:schemeClr val="bg1"/>
              </a:solidFill>
              <a:latin typeface="+mn-lt"/>
              <a:ea typeface="+mn-ea"/>
              <a:cs typeface="+mn-cs"/>
            </a:rPr>
            <a:t>Dir Regional Logistics  East</a:t>
          </a:r>
        </a:p>
        <a:p>
          <a:pPr>
            <a:buNone/>
          </a:pPr>
          <a:r>
            <a:rPr lang="en-US" sz="900" b="1" dirty="0">
              <a:solidFill>
                <a:schemeClr val="bg1"/>
              </a:solidFill>
              <a:latin typeface="+mn-lt"/>
              <a:ea typeface="+mn-ea"/>
              <a:cs typeface="+mn-cs"/>
            </a:rPr>
            <a:t>Scott Raymond</a:t>
          </a:r>
          <a:endParaRPr lang="en-US" sz="900" b="1" dirty="0">
            <a:solidFill>
              <a:schemeClr val="bg1"/>
            </a:solidFill>
            <a:latin typeface="+mn-lt"/>
          </a:endParaRPr>
        </a:p>
      </dgm:t>
    </dgm:pt>
    <dgm:pt modelId="{263D3597-3144-4CF5-BD6B-15399BE82A0F}" type="parTrans" cxnId="{D788CEDC-27B1-4634-89D0-AB929176F38E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88D0443D-A64F-49EA-B4B3-AF5DA1192A47}" type="sibTrans" cxnId="{D788CEDC-27B1-4634-89D0-AB929176F38E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29066F49-233A-4351-9A07-E45EE37F9688}">
      <dgm:prSet phldrT="[Text]" custT="1"/>
      <dgm:spPr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pPr>
            <a:buNone/>
          </a:pPr>
          <a:r>
            <a:rPr lang="en-US" sz="900" dirty="0">
              <a:solidFill>
                <a:schemeClr val="bg1"/>
              </a:solidFill>
              <a:latin typeface="+mn-lt"/>
              <a:ea typeface="+mn-ea"/>
              <a:cs typeface="+mn-cs"/>
            </a:rPr>
            <a:t>Dir Regional Logistics West</a:t>
          </a:r>
        </a:p>
        <a:p>
          <a:pPr>
            <a:buNone/>
          </a:pPr>
          <a:r>
            <a:rPr lang="en-US" sz="900" b="1" dirty="0">
              <a:solidFill>
                <a:schemeClr val="bg1"/>
              </a:solidFill>
              <a:latin typeface="+mn-lt"/>
              <a:ea typeface="+mn-ea"/>
              <a:cs typeface="+mn-cs"/>
            </a:rPr>
            <a:t>Larry Belair</a:t>
          </a:r>
        </a:p>
      </dgm:t>
    </dgm:pt>
    <dgm:pt modelId="{0E2FA7DD-E009-4504-9517-CFB56DD92FAA}" type="parTrans" cxnId="{40F7135A-4767-4F7F-B2A4-EE20FBFC9F20}">
      <dgm:prSet/>
      <dgm:spPr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03E96195-4710-4401-9182-BED67203007C}" type="sibTrans" cxnId="{40F7135A-4767-4F7F-B2A4-EE20FBFC9F20}">
      <dgm:prSet/>
      <dgm:spPr/>
      <dgm:t>
        <a:bodyPr/>
        <a:lstStyle/>
        <a:p>
          <a:endParaRPr lang="en-US" sz="900">
            <a:solidFill>
              <a:schemeClr val="bg1"/>
            </a:solidFill>
            <a:latin typeface="+mn-lt"/>
          </a:endParaRPr>
        </a:p>
      </dgm:t>
    </dgm:pt>
    <dgm:pt modelId="{008A9A80-BD13-446C-833B-2B197FFBA9AB}" type="pres">
      <dgm:prSet presAssocID="{AEB5C877-C77B-47BD-825A-482B3EB5DF5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DF78B51-FF65-46D3-95B4-403BD752DD8A}" type="pres">
      <dgm:prSet presAssocID="{735E0ECF-1473-4459-9782-B3BFD89D844B}" presName="hierRoot1" presStyleCnt="0">
        <dgm:presLayoutVars>
          <dgm:hierBranch val="init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D1481A51-9A8E-4E3F-ACFE-BBFBAA069003}" type="pres">
      <dgm:prSet presAssocID="{735E0ECF-1473-4459-9782-B3BFD89D844B}" presName="rootComposite1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608CB659-20FB-4FD5-BD59-4EDC1CFD706A}" type="pres">
      <dgm:prSet presAssocID="{735E0ECF-1473-4459-9782-B3BFD89D844B}" presName="rootText1" presStyleLbl="node0" presStyleIdx="0" presStyleCnt="1" custScaleX="121676" custScaleY="119813">
        <dgm:presLayoutVars>
          <dgm:chPref val="3"/>
        </dgm:presLayoutVars>
      </dgm:prSet>
      <dgm:spPr/>
    </dgm:pt>
    <dgm:pt modelId="{663788D1-3B8C-4438-98A1-293F772704C9}" type="pres">
      <dgm:prSet presAssocID="{735E0ECF-1473-4459-9782-B3BFD89D844B}" presName="rootConnector1" presStyleLbl="node1" presStyleIdx="0" presStyleCnt="0"/>
      <dgm:spPr/>
    </dgm:pt>
    <dgm:pt modelId="{B3767120-1D84-4CBF-A42A-7963C47D4D0B}" type="pres">
      <dgm:prSet presAssocID="{735E0ECF-1473-4459-9782-B3BFD89D844B}" presName="hierChild2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AA2C4414-7EF3-4BAE-A19E-E52D628B3FAE}" type="pres">
      <dgm:prSet presAssocID="{93793C77-22A1-4452-AA5B-CD75C3A2088D}" presName="Name37" presStyleLbl="parChTrans1D2" presStyleIdx="0" presStyleCnt="4"/>
      <dgm:spPr/>
    </dgm:pt>
    <dgm:pt modelId="{6387B0E3-D0C5-444F-9B93-1D720208E895}" type="pres">
      <dgm:prSet presAssocID="{5D030A46-7792-4815-B57B-046A07F0140A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12FC5992-2B6A-4B44-9993-4ACF04F605A0}" type="pres">
      <dgm:prSet presAssocID="{5D030A46-7792-4815-B57B-046A07F0140A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AC5FF851-1189-4F95-8351-A97A476B2246}" type="pres">
      <dgm:prSet presAssocID="{5D030A46-7792-4815-B57B-046A07F0140A}" presName="rootText" presStyleLbl="node2" presStyleIdx="0" presStyleCnt="4" custScaleX="107287" custLinFactNeighborX="2583">
        <dgm:presLayoutVars>
          <dgm:chPref val="3"/>
        </dgm:presLayoutVars>
      </dgm:prSet>
      <dgm:spPr/>
    </dgm:pt>
    <dgm:pt modelId="{2FD465CE-D641-4F07-9394-155CB7FBF3F3}" type="pres">
      <dgm:prSet presAssocID="{5D030A46-7792-4815-B57B-046A07F0140A}" presName="rootConnector" presStyleLbl="node2" presStyleIdx="0" presStyleCnt="4"/>
      <dgm:spPr/>
    </dgm:pt>
    <dgm:pt modelId="{C59FB238-8008-4F2B-BC0E-E3651B88BA6C}" type="pres">
      <dgm:prSet presAssocID="{5D030A46-7792-4815-B57B-046A07F0140A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6C54FE7E-1514-4596-B8CE-BCE54D5A582E}" type="pres">
      <dgm:prSet presAssocID="{9F1142D6-E2EB-4B62-9657-E1BFD7D3F930}" presName="Name48" presStyleLbl="parChTrans1D3" presStyleIdx="0" presStyleCnt="24"/>
      <dgm:spPr/>
    </dgm:pt>
    <dgm:pt modelId="{7D945FEB-5361-4AD6-B303-4D1323345AFD}" type="pres">
      <dgm:prSet presAssocID="{EB027484-7CEA-4CBE-BF58-C09DD2571399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91AB74F7-9E90-4010-8B4C-0DCFF9C74B1D}" type="pres">
      <dgm:prSet presAssocID="{EB027484-7CEA-4CBE-BF58-C09DD2571399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857E5E5B-C52C-4438-9D5D-D1C33F85DC46}" type="pres">
      <dgm:prSet presAssocID="{EB027484-7CEA-4CBE-BF58-C09DD2571399}" presName="rootText" presStyleLbl="node3" presStyleIdx="0" presStyleCnt="24" custLinFactNeighborX="850" custLinFactNeighborY="1014">
        <dgm:presLayoutVars>
          <dgm:chPref val="3"/>
        </dgm:presLayoutVars>
      </dgm:prSet>
      <dgm:spPr/>
    </dgm:pt>
    <dgm:pt modelId="{116439AF-00EB-4779-BBCF-EF4570381522}" type="pres">
      <dgm:prSet presAssocID="{EB027484-7CEA-4CBE-BF58-C09DD2571399}" presName="rootConnector" presStyleLbl="node3" presStyleIdx="0" presStyleCnt="24"/>
      <dgm:spPr/>
    </dgm:pt>
    <dgm:pt modelId="{B26C6A3D-750B-4C7E-86F3-4CA28EA85EAB}" type="pres">
      <dgm:prSet presAssocID="{EB027484-7CEA-4CBE-BF58-C09DD2571399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5D7DF315-D2F7-466C-B680-AD076590EABC}" type="pres">
      <dgm:prSet presAssocID="{EB027484-7CEA-4CBE-BF58-C09DD2571399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DC8B994C-FFB3-4EA3-9D85-F30443BCB270}" type="pres">
      <dgm:prSet presAssocID="{2B5C111A-46A9-4164-9BED-60CE7D0DEFD1}" presName="Name48" presStyleLbl="parChTrans1D3" presStyleIdx="1" presStyleCnt="24"/>
      <dgm:spPr/>
    </dgm:pt>
    <dgm:pt modelId="{A6B72F75-1778-48C5-A7E9-D7A3B9D90F78}" type="pres">
      <dgm:prSet presAssocID="{3F407392-4167-4C51-A077-D7329DB2CED1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1E726FA3-AA1F-4DCD-A8E2-057242DC7FA1}" type="pres">
      <dgm:prSet presAssocID="{3F407392-4167-4C51-A077-D7329DB2CED1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36764980-1D1F-4C31-B763-CBCF535AD06A}" type="pres">
      <dgm:prSet presAssocID="{3F407392-4167-4C51-A077-D7329DB2CED1}" presName="rootText" presStyleLbl="node3" presStyleIdx="1" presStyleCnt="24" custLinFactNeighborX="1223" custLinFactNeighborY="1014">
        <dgm:presLayoutVars>
          <dgm:chPref val="3"/>
        </dgm:presLayoutVars>
      </dgm:prSet>
      <dgm:spPr/>
    </dgm:pt>
    <dgm:pt modelId="{7530D462-01FB-4E6D-9118-B2167C4604DC}" type="pres">
      <dgm:prSet presAssocID="{3F407392-4167-4C51-A077-D7329DB2CED1}" presName="rootConnector" presStyleLbl="node3" presStyleIdx="1" presStyleCnt="24"/>
      <dgm:spPr/>
    </dgm:pt>
    <dgm:pt modelId="{4AB6EF25-E66F-46AD-95C6-385EADF81F8B}" type="pres">
      <dgm:prSet presAssocID="{3F407392-4167-4C51-A077-D7329DB2CED1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5DF0331A-8663-4F66-8867-F68E8D34C331}" type="pres">
      <dgm:prSet presAssocID="{3F407392-4167-4C51-A077-D7329DB2CED1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C795F404-0DA7-405E-81AE-25EEDEC41780}" type="pres">
      <dgm:prSet presAssocID="{33A946CB-810B-4292-955D-3DF60C7CCC01}" presName="Name48" presStyleLbl="parChTrans1D3" presStyleIdx="2" presStyleCnt="24"/>
      <dgm:spPr/>
    </dgm:pt>
    <dgm:pt modelId="{AD200E74-53F1-4DB5-A570-0CC6F572A8D1}" type="pres">
      <dgm:prSet presAssocID="{55D3AE3F-3FF9-459E-AA41-4FFD3A4B530A}" presName="hierRoot2" presStyleCnt="0">
        <dgm:presLayoutVars>
          <dgm:hierBranch val="init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163ED4A3-4445-4E21-A75C-652C052FCCD5}" type="pres">
      <dgm:prSet presAssocID="{55D3AE3F-3FF9-459E-AA41-4FFD3A4B530A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F721A2C3-B74E-4B93-9D96-D10D55204BB2}" type="pres">
      <dgm:prSet presAssocID="{55D3AE3F-3FF9-459E-AA41-4FFD3A4B530A}" presName="rootText" presStyleLbl="node3" presStyleIdx="2" presStyleCnt="24">
        <dgm:presLayoutVars>
          <dgm:chPref val="3"/>
        </dgm:presLayoutVars>
      </dgm:prSet>
      <dgm:spPr>
        <a:xfrm>
          <a:off x="330" y="3268512"/>
          <a:ext cx="1271062" cy="635531"/>
        </a:xfrm>
        <a:prstGeom prst="rect">
          <a:avLst/>
        </a:prstGeom>
      </dgm:spPr>
    </dgm:pt>
    <dgm:pt modelId="{84E38710-D049-4F4F-A352-B9C5CABE829D}" type="pres">
      <dgm:prSet presAssocID="{55D3AE3F-3FF9-459E-AA41-4FFD3A4B530A}" presName="rootConnector" presStyleLbl="node3" presStyleIdx="2" presStyleCnt="24"/>
      <dgm:spPr/>
    </dgm:pt>
    <dgm:pt modelId="{BC99E0E4-716F-410A-8A0F-C2B90704E717}" type="pres">
      <dgm:prSet presAssocID="{55D3AE3F-3FF9-459E-AA41-4FFD3A4B530A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FF64663-7584-420A-AF91-2063BCE1A82C}" type="pres">
      <dgm:prSet presAssocID="{55D3AE3F-3FF9-459E-AA41-4FFD3A4B530A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35CF41C-8E65-4556-B698-9DE0FA9D7114}" type="pres">
      <dgm:prSet presAssocID="{A097BC90-7C7B-4417-B541-121A504AFDFB}" presName="Name48" presStyleLbl="parChTrans1D3" presStyleIdx="3" presStyleCnt="24"/>
      <dgm:spPr/>
    </dgm:pt>
    <dgm:pt modelId="{E170CA6D-23B4-4844-8B47-FDBAC718FE09}" type="pres">
      <dgm:prSet presAssocID="{16816A87-973E-4B4F-A654-1165D3D6BD11}" presName="hierRoot2" presStyleCnt="0">
        <dgm:presLayoutVars>
          <dgm:hierBranch val="init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CE9D54DE-C7E8-4197-B154-F698EE1726B3}" type="pres">
      <dgm:prSet presAssocID="{16816A87-973E-4B4F-A654-1165D3D6BD11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0B3673FB-5A00-41D7-A466-568C6A22B051}" type="pres">
      <dgm:prSet presAssocID="{16816A87-973E-4B4F-A654-1165D3D6BD11}" presName="rootText" presStyleLbl="node3" presStyleIdx="3" presStyleCnt="24">
        <dgm:presLayoutVars>
          <dgm:chPref val="3"/>
        </dgm:presLayoutVars>
      </dgm:prSet>
      <dgm:spPr/>
    </dgm:pt>
    <dgm:pt modelId="{15DD8594-E37B-44FE-84D2-9389401D1F5C}" type="pres">
      <dgm:prSet presAssocID="{16816A87-973E-4B4F-A654-1165D3D6BD11}" presName="rootConnector" presStyleLbl="node3" presStyleIdx="3" presStyleCnt="24"/>
      <dgm:spPr/>
    </dgm:pt>
    <dgm:pt modelId="{D2DFC9FD-93CF-4229-8EFC-B6E3F7A1E748}" type="pres">
      <dgm:prSet presAssocID="{16816A87-973E-4B4F-A654-1165D3D6BD11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A8B32EE-D2E6-40BE-A5FA-1E15F9C6B7C6}" type="pres">
      <dgm:prSet presAssocID="{16816A87-973E-4B4F-A654-1165D3D6BD11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42228D22-AB2C-4818-946A-805E3D87E56C}" type="pres">
      <dgm:prSet presAssocID="{5AA235E6-8A4F-4D6A-81B1-691C8B486EDE}" presName="Name48" presStyleLbl="parChTrans1D3" presStyleIdx="4" presStyleCnt="24"/>
      <dgm:spPr/>
    </dgm:pt>
    <dgm:pt modelId="{0AEC7CC6-126C-4828-811E-FD011492A4F5}" type="pres">
      <dgm:prSet presAssocID="{735612C9-9748-445A-8901-0517F5E97322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0A79E047-91A7-45F0-A3D2-A02EFB655E37}" type="pres">
      <dgm:prSet presAssocID="{735612C9-9748-445A-8901-0517F5E97322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89953E0F-E104-42A0-9060-1313CAEAD95B}" type="pres">
      <dgm:prSet presAssocID="{735612C9-9748-445A-8901-0517F5E97322}" presName="rootText" presStyleLbl="node3" presStyleIdx="4" presStyleCnt="24" custLinFactNeighborX="1223" custLinFactNeighborY="1014">
        <dgm:presLayoutVars>
          <dgm:chPref val="3"/>
        </dgm:presLayoutVars>
      </dgm:prSet>
      <dgm:spPr/>
    </dgm:pt>
    <dgm:pt modelId="{933633F6-70B5-44A4-B5E1-C1D16DD871E4}" type="pres">
      <dgm:prSet presAssocID="{735612C9-9748-445A-8901-0517F5E97322}" presName="rootConnector" presStyleLbl="node3" presStyleIdx="4" presStyleCnt="24"/>
      <dgm:spPr/>
    </dgm:pt>
    <dgm:pt modelId="{A93FC3F0-3655-430F-B897-E27C4F22491A}" type="pres">
      <dgm:prSet presAssocID="{735612C9-9748-445A-8901-0517F5E97322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4B7E7497-7A5D-426F-A411-3BE809B98BE8}" type="pres">
      <dgm:prSet presAssocID="{735612C9-9748-445A-8901-0517F5E97322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E13FAE0-9CEB-482E-BAA7-799105B372E0}" type="pres">
      <dgm:prSet presAssocID="{ED3A2050-56C8-4E42-802B-51DA016DCD9B}" presName="Name48" presStyleLbl="parChTrans1D3" presStyleIdx="5" presStyleCnt="24"/>
      <dgm:spPr/>
    </dgm:pt>
    <dgm:pt modelId="{36A8EE2A-D7DE-4732-AAFF-498234004AAB}" type="pres">
      <dgm:prSet presAssocID="{BFB12218-AA60-4734-930A-3690A4E28382}" presName="hierRoot2" presStyleCnt="0">
        <dgm:presLayoutVars>
          <dgm:hierBranch val="init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6AF2B56C-127B-4CCB-8566-50FCC75EE4B5}" type="pres">
      <dgm:prSet presAssocID="{BFB12218-AA60-4734-930A-3690A4E28382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412D4FC7-B1E0-4CC8-869F-17AD104B4D58}" type="pres">
      <dgm:prSet presAssocID="{BFB12218-AA60-4734-930A-3690A4E28382}" presName="rootText" presStyleLbl="node3" presStyleIdx="5" presStyleCnt="24" custLinFactNeighborY="1397">
        <dgm:presLayoutVars>
          <dgm:chPref val="3"/>
        </dgm:presLayoutVars>
      </dgm:prSet>
      <dgm:spPr>
        <a:xfrm>
          <a:off x="1538315" y="4170966"/>
          <a:ext cx="1271062" cy="635531"/>
        </a:xfrm>
        <a:prstGeom prst="rect">
          <a:avLst/>
        </a:prstGeom>
      </dgm:spPr>
    </dgm:pt>
    <dgm:pt modelId="{26EB3FCF-F188-4EAE-B369-742B4646CBAA}" type="pres">
      <dgm:prSet presAssocID="{BFB12218-AA60-4734-930A-3690A4E28382}" presName="rootConnector" presStyleLbl="node3" presStyleIdx="5" presStyleCnt="24"/>
      <dgm:spPr/>
    </dgm:pt>
    <dgm:pt modelId="{AEC63EF5-482C-4C44-BF67-121FA08B49B6}" type="pres">
      <dgm:prSet presAssocID="{BFB12218-AA60-4734-930A-3690A4E28382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19567908-D9D7-453B-BB90-919669752509}" type="pres">
      <dgm:prSet presAssocID="{BFB12218-AA60-4734-930A-3690A4E28382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8349AF55-683F-4F61-A046-C0C13CC76D05}" type="pres">
      <dgm:prSet presAssocID="{5D030A46-7792-4815-B57B-046A07F0140A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D62CCC2-632D-47CD-A6FB-AF9328D9C4C3}" type="pres">
      <dgm:prSet presAssocID="{C596D3E0-CF1C-4186-873C-266C0BDDA405}" presName="Name37" presStyleLbl="parChTrans1D2" presStyleIdx="1" presStyleCnt="4"/>
      <dgm:spPr/>
    </dgm:pt>
    <dgm:pt modelId="{DFA3A91B-E297-4234-BFEC-E07215C4A4F0}" type="pres">
      <dgm:prSet presAssocID="{C4171510-A219-4D73-ABD0-9340201AB08B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09E9B259-37C6-4DAC-B977-55FDCFAE76AB}" type="pres">
      <dgm:prSet presAssocID="{C4171510-A219-4D73-ABD0-9340201AB08B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43FE5B09-28AC-4B39-BFE9-1C78BB5E9846}" type="pres">
      <dgm:prSet presAssocID="{C4171510-A219-4D73-ABD0-9340201AB08B}" presName="rootText" presStyleLbl="node2" presStyleIdx="1" presStyleCnt="4" custScaleX="110566" custLinFactNeighborX="2583">
        <dgm:presLayoutVars>
          <dgm:chPref val="3"/>
        </dgm:presLayoutVars>
      </dgm:prSet>
      <dgm:spPr/>
    </dgm:pt>
    <dgm:pt modelId="{71D9930B-3E8E-46AF-9F9D-50C9E28A14EA}" type="pres">
      <dgm:prSet presAssocID="{C4171510-A219-4D73-ABD0-9340201AB08B}" presName="rootConnector" presStyleLbl="node2" presStyleIdx="1" presStyleCnt="4"/>
      <dgm:spPr/>
    </dgm:pt>
    <dgm:pt modelId="{CE602C07-2778-4BEB-9377-8EF46EEC3364}" type="pres">
      <dgm:prSet presAssocID="{C4171510-A219-4D73-ABD0-9340201AB08B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F3A6A1AF-C065-491A-9B9F-6AC6C886A573}" type="pres">
      <dgm:prSet presAssocID="{D31CC421-290B-41DD-B006-DFB813BBC81E}" presName="Name48" presStyleLbl="parChTrans1D3" presStyleIdx="6" presStyleCnt="24"/>
      <dgm:spPr/>
    </dgm:pt>
    <dgm:pt modelId="{5AD9586A-22ED-482B-AB10-96CE9308A8D1}" type="pres">
      <dgm:prSet presAssocID="{A3996FD5-4B24-43FC-9B73-EB82E12E15BD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BC401DEC-D9EE-4A52-A4BF-CD5CF4CE95EB}" type="pres">
      <dgm:prSet presAssocID="{A3996FD5-4B24-43FC-9B73-EB82E12E15BD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A8A43A45-90AB-4F0B-9084-0D14C71D65E1}" type="pres">
      <dgm:prSet presAssocID="{A3996FD5-4B24-43FC-9B73-EB82E12E15BD}" presName="rootText" presStyleLbl="node3" presStyleIdx="6" presStyleCnt="24" custLinFactNeighborX="1223" custLinFactNeighborY="1014">
        <dgm:presLayoutVars>
          <dgm:chPref val="3"/>
        </dgm:presLayoutVars>
      </dgm:prSet>
      <dgm:spPr/>
    </dgm:pt>
    <dgm:pt modelId="{2C183873-6D40-4E8A-85C6-17B11FDDE65A}" type="pres">
      <dgm:prSet presAssocID="{A3996FD5-4B24-43FC-9B73-EB82E12E15BD}" presName="rootConnector" presStyleLbl="node3" presStyleIdx="6" presStyleCnt="24"/>
      <dgm:spPr/>
    </dgm:pt>
    <dgm:pt modelId="{5021666D-94CC-42EC-8201-FC8D1D0E328B}" type="pres">
      <dgm:prSet presAssocID="{A3996FD5-4B24-43FC-9B73-EB82E12E15BD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8B6BC08-FD7A-4592-83DE-B656F5E44A89}" type="pres">
      <dgm:prSet presAssocID="{A3996FD5-4B24-43FC-9B73-EB82E12E15BD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4C203ED4-6493-487D-88B2-D43CA89A714C}" type="pres">
      <dgm:prSet presAssocID="{F7724F3E-23A6-4AE0-9E34-B131A4643726}" presName="Name48" presStyleLbl="parChTrans1D3" presStyleIdx="7" presStyleCnt="24"/>
      <dgm:spPr/>
    </dgm:pt>
    <dgm:pt modelId="{009DFB59-F6FC-441E-A568-A553B94CC9C6}" type="pres">
      <dgm:prSet presAssocID="{B35741F1-64E8-425C-8768-F1973D6B9FCD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E8118F91-3129-4A17-BAF4-8FEB49368EE0}" type="pres">
      <dgm:prSet presAssocID="{B35741F1-64E8-425C-8768-F1973D6B9FCD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18F5216A-D74D-45D9-8EB3-3C45223454C9}" type="pres">
      <dgm:prSet presAssocID="{B35741F1-64E8-425C-8768-F1973D6B9FCD}" presName="rootText" presStyleLbl="node3" presStyleIdx="7" presStyleCnt="24" custLinFactNeighborX="1223" custLinFactNeighborY="1014">
        <dgm:presLayoutVars>
          <dgm:chPref val="3"/>
        </dgm:presLayoutVars>
      </dgm:prSet>
      <dgm:spPr/>
    </dgm:pt>
    <dgm:pt modelId="{5F232BDD-EEA6-4F5D-A6CC-275A9E5D3873}" type="pres">
      <dgm:prSet presAssocID="{B35741F1-64E8-425C-8768-F1973D6B9FCD}" presName="rootConnector" presStyleLbl="node3" presStyleIdx="7" presStyleCnt="24"/>
      <dgm:spPr/>
    </dgm:pt>
    <dgm:pt modelId="{A3B50B12-D250-49E7-A2FA-7E84645D48B9}" type="pres">
      <dgm:prSet presAssocID="{B35741F1-64E8-425C-8768-F1973D6B9FCD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75B866EA-8F3B-4F0C-AC85-B5DDD3C05A5B}" type="pres">
      <dgm:prSet presAssocID="{B35741F1-64E8-425C-8768-F1973D6B9FCD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6BE74CAF-23C6-4A5D-A858-3A2C21F0676F}" type="pres">
      <dgm:prSet presAssocID="{B3DF8B2E-F63B-4C81-B13E-ACAE6BECD028}" presName="Name48" presStyleLbl="parChTrans1D3" presStyleIdx="8" presStyleCnt="24"/>
      <dgm:spPr/>
    </dgm:pt>
    <dgm:pt modelId="{E1E7F1FE-AED2-46BA-B0AC-9AA98902DDA6}" type="pres">
      <dgm:prSet presAssocID="{EF0A4041-6C46-4B93-AC8F-400BFAEA32CE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F7677E96-9016-46F8-A187-0A9136AC6B62}" type="pres">
      <dgm:prSet presAssocID="{EF0A4041-6C46-4B93-AC8F-400BFAEA32CE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427A19DC-BCE0-44E5-BFEE-E56D90F4D79D}" type="pres">
      <dgm:prSet presAssocID="{EF0A4041-6C46-4B93-AC8F-400BFAEA32CE}" presName="rootText" presStyleLbl="node3" presStyleIdx="8" presStyleCnt="24" custLinFactNeighborX="1223" custLinFactNeighborY="1014">
        <dgm:presLayoutVars>
          <dgm:chPref val="3"/>
        </dgm:presLayoutVars>
      </dgm:prSet>
      <dgm:spPr/>
    </dgm:pt>
    <dgm:pt modelId="{3A4B4255-6EBC-4DB4-B121-4EA590078506}" type="pres">
      <dgm:prSet presAssocID="{EF0A4041-6C46-4B93-AC8F-400BFAEA32CE}" presName="rootConnector" presStyleLbl="node3" presStyleIdx="8" presStyleCnt="24"/>
      <dgm:spPr/>
    </dgm:pt>
    <dgm:pt modelId="{47C0A63B-F66A-4F6E-B16C-5F20B0CEF754}" type="pres">
      <dgm:prSet presAssocID="{EF0A4041-6C46-4B93-AC8F-400BFAEA32CE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A9169E22-EB94-4EB9-A078-40FD62E86719}" type="pres">
      <dgm:prSet presAssocID="{EF0A4041-6C46-4B93-AC8F-400BFAEA32CE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A4260DFB-585E-4A73-816C-F9AEEDDA9394}" type="pres">
      <dgm:prSet presAssocID="{C2BCB542-154D-41AA-BC2F-0175A751E962}" presName="Name48" presStyleLbl="parChTrans1D3" presStyleIdx="9" presStyleCnt="24"/>
      <dgm:spPr/>
    </dgm:pt>
    <dgm:pt modelId="{65359CC4-1199-40A6-9A5D-E339CCE06195}" type="pres">
      <dgm:prSet presAssocID="{A4BA30C2-EE2A-4C06-9F5B-E5D4035B17CC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685BD7F1-E41B-4D8B-83BF-47C6EAEA87D0}" type="pres">
      <dgm:prSet presAssocID="{A4BA30C2-EE2A-4C06-9F5B-E5D4035B17CC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3931096-6600-46C3-98DA-74AC02AC0B71}" type="pres">
      <dgm:prSet presAssocID="{A4BA30C2-EE2A-4C06-9F5B-E5D4035B17CC}" presName="rootText" presStyleLbl="node3" presStyleIdx="9" presStyleCnt="24" custLinFactNeighborX="1223" custLinFactNeighborY="1014">
        <dgm:presLayoutVars>
          <dgm:chPref val="3"/>
        </dgm:presLayoutVars>
      </dgm:prSet>
      <dgm:spPr/>
    </dgm:pt>
    <dgm:pt modelId="{FCDEEE3A-FB67-4F1F-BECE-E1F592365CFC}" type="pres">
      <dgm:prSet presAssocID="{A4BA30C2-EE2A-4C06-9F5B-E5D4035B17CC}" presName="rootConnector" presStyleLbl="node3" presStyleIdx="9" presStyleCnt="24"/>
      <dgm:spPr/>
    </dgm:pt>
    <dgm:pt modelId="{02632E63-6953-4BBB-9358-D0D0A0F62BB7}" type="pres">
      <dgm:prSet presAssocID="{A4BA30C2-EE2A-4C06-9F5B-E5D4035B17CC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6356888D-CFDB-4DAB-958C-0207B0E8E05F}" type="pres">
      <dgm:prSet presAssocID="{A4BA30C2-EE2A-4C06-9F5B-E5D4035B17CC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BB52E86-A6D3-49C2-97F6-2C4768AB09C8}" type="pres">
      <dgm:prSet presAssocID="{263D3597-3144-4CF5-BD6B-15399BE82A0F}" presName="Name48" presStyleLbl="parChTrans1D3" presStyleIdx="10" presStyleCnt="24"/>
      <dgm:spPr/>
    </dgm:pt>
    <dgm:pt modelId="{15722F4A-64EC-41B1-A89F-7F50312897CB}" type="pres">
      <dgm:prSet presAssocID="{43D09E61-C801-46FE-B2A8-596B45E28CE4}" presName="hierRoot2" presStyleCnt="0">
        <dgm:presLayoutVars>
          <dgm:hierBranch val="init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704642B8-8C08-4A64-A891-EA2604FC6DCE}" type="pres">
      <dgm:prSet presAssocID="{43D09E61-C801-46FE-B2A8-596B45E28CE4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BF4F725A-972C-4E98-BF9C-89D197DEB066}" type="pres">
      <dgm:prSet presAssocID="{43D09E61-C801-46FE-B2A8-596B45E28CE4}" presName="rootText" presStyleLbl="node3" presStyleIdx="10" presStyleCnt="24" custLinFactNeighborX="1223" custLinFactNeighborY="1014">
        <dgm:presLayoutVars>
          <dgm:chPref val="3"/>
        </dgm:presLayoutVars>
      </dgm:prSet>
      <dgm:spPr>
        <a:prstGeom prst="rect">
          <a:avLst/>
        </a:prstGeom>
      </dgm:spPr>
    </dgm:pt>
    <dgm:pt modelId="{9215CBBE-094A-48EA-8204-7340B0644A41}" type="pres">
      <dgm:prSet presAssocID="{43D09E61-C801-46FE-B2A8-596B45E28CE4}" presName="rootConnector" presStyleLbl="node3" presStyleIdx="10" presStyleCnt="24"/>
      <dgm:spPr/>
    </dgm:pt>
    <dgm:pt modelId="{6D16C03C-8393-47FE-A73B-6E5C1457267B}" type="pres">
      <dgm:prSet presAssocID="{43D09E61-C801-46FE-B2A8-596B45E28CE4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F55F956D-EB59-4BE0-8593-EDF047D1ADED}" type="pres">
      <dgm:prSet presAssocID="{43D09E61-C801-46FE-B2A8-596B45E28CE4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34A12F56-B955-474C-A505-5319681CDCE2}" type="pres">
      <dgm:prSet presAssocID="{0E2FA7DD-E009-4504-9517-CFB56DD92FAA}" presName="Name48" presStyleLbl="parChTrans1D3" presStyleIdx="11" presStyleCnt="24"/>
      <dgm:spPr/>
    </dgm:pt>
    <dgm:pt modelId="{E2B0944B-E285-4403-9ECA-EB23DC5216F8}" type="pres">
      <dgm:prSet presAssocID="{29066F49-233A-4351-9A07-E45EE37F9688}" presName="hierRoot2" presStyleCnt="0">
        <dgm:presLayoutVars>
          <dgm:hierBranch val="init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CAB01044-7835-402F-BFA5-8B68E6D94A8B}" type="pres">
      <dgm:prSet presAssocID="{29066F49-233A-4351-9A07-E45EE37F9688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B6B31DC6-278B-442A-B004-071F51C3CB41}" type="pres">
      <dgm:prSet presAssocID="{29066F49-233A-4351-9A07-E45EE37F9688}" presName="rootText" presStyleLbl="node3" presStyleIdx="11" presStyleCnt="24" custLinFactNeighborX="1223" custLinFactNeighborY="1014">
        <dgm:presLayoutVars>
          <dgm:chPref val="3"/>
        </dgm:presLayoutVars>
      </dgm:prSet>
      <dgm:spPr>
        <a:prstGeom prst="rect">
          <a:avLst/>
        </a:prstGeom>
      </dgm:spPr>
    </dgm:pt>
    <dgm:pt modelId="{F59E2F0D-8527-4450-B28C-2118C3FC4572}" type="pres">
      <dgm:prSet presAssocID="{29066F49-233A-4351-9A07-E45EE37F9688}" presName="rootConnector" presStyleLbl="node3" presStyleIdx="11" presStyleCnt="24"/>
      <dgm:spPr/>
    </dgm:pt>
    <dgm:pt modelId="{2CA921EB-C273-4AF6-83AE-AC6667628DEB}" type="pres">
      <dgm:prSet presAssocID="{29066F49-233A-4351-9A07-E45EE37F9688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B0543AC1-EF0E-41BF-8CDE-0E74649C7507}" type="pres">
      <dgm:prSet presAssocID="{29066F49-233A-4351-9A07-E45EE37F9688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5BC729F7-A32A-4515-A574-DFBC30FDA19B}" type="pres">
      <dgm:prSet presAssocID="{C4171510-A219-4D73-ABD0-9340201AB08B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04B36B14-FDED-4614-BB74-97EE5BB8F52D}" type="pres">
      <dgm:prSet presAssocID="{DD5605C9-86D4-46AB-815E-97791D76E890}" presName="Name37" presStyleLbl="parChTrans1D2" presStyleIdx="2" presStyleCnt="4"/>
      <dgm:spPr/>
    </dgm:pt>
    <dgm:pt modelId="{106AC147-102C-49EA-AA5F-EF5284021786}" type="pres">
      <dgm:prSet presAssocID="{25AF2A20-742B-4B54-82EE-1A36C3C1A1C1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A185BBF1-A3C4-4167-BD2D-01117B8865F1}" type="pres">
      <dgm:prSet presAssocID="{25AF2A20-742B-4B54-82EE-1A36C3C1A1C1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6F5EABE9-ADCF-4968-81B3-04689CB922B9}" type="pres">
      <dgm:prSet presAssocID="{25AF2A20-742B-4B54-82EE-1A36C3C1A1C1}" presName="rootText" presStyleLbl="node2" presStyleIdx="2" presStyleCnt="4" custScaleX="110403">
        <dgm:presLayoutVars>
          <dgm:chPref val="3"/>
        </dgm:presLayoutVars>
      </dgm:prSet>
      <dgm:spPr/>
    </dgm:pt>
    <dgm:pt modelId="{492EE907-4099-4D6E-8EF8-4A500681DBF1}" type="pres">
      <dgm:prSet presAssocID="{25AF2A20-742B-4B54-82EE-1A36C3C1A1C1}" presName="rootConnector" presStyleLbl="node2" presStyleIdx="2" presStyleCnt="4"/>
      <dgm:spPr/>
    </dgm:pt>
    <dgm:pt modelId="{604BD7F7-0389-4ECB-B419-E102FB55CEAC}" type="pres">
      <dgm:prSet presAssocID="{25AF2A20-742B-4B54-82EE-1A36C3C1A1C1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EA7938CB-A733-44C1-A071-6CDE35869C6C}" type="pres">
      <dgm:prSet presAssocID="{FD10F90F-B12D-4036-82A3-E1375D5847BB}" presName="Name48" presStyleLbl="parChTrans1D3" presStyleIdx="12" presStyleCnt="24"/>
      <dgm:spPr/>
    </dgm:pt>
    <dgm:pt modelId="{C9F3BD78-2D0F-4066-8C62-A4BEFC28C0D0}" type="pres">
      <dgm:prSet presAssocID="{715F685F-1B97-4735-9D7D-F06EC3224C5B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2F419F38-8B4E-4E64-A62C-E8BE420A6A18}" type="pres">
      <dgm:prSet presAssocID="{715F685F-1B97-4735-9D7D-F06EC3224C5B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77B0771F-7A97-4F55-B5C4-7CE3A24EA5FB}" type="pres">
      <dgm:prSet presAssocID="{715F685F-1B97-4735-9D7D-F06EC3224C5B}" presName="rootText" presStyleLbl="node3" presStyleIdx="12" presStyleCnt="24" custLinFactNeighborX="1223" custLinFactNeighborY="1014">
        <dgm:presLayoutVars>
          <dgm:chPref val="3"/>
        </dgm:presLayoutVars>
      </dgm:prSet>
      <dgm:spPr>
        <a:xfrm>
          <a:off x="5810204" y="2408043"/>
          <a:ext cx="1125955" cy="562977"/>
        </a:xfrm>
        <a:prstGeom prst="rect">
          <a:avLst/>
        </a:prstGeom>
      </dgm:spPr>
    </dgm:pt>
    <dgm:pt modelId="{3F7C118D-3B24-43E5-AF62-CC83C5D3392C}" type="pres">
      <dgm:prSet presAssocID="{715F685F-1B97-4735-9D7D-F06EC3224C5B}" presName="rootConnector" presStyleLbl="node3" presStyleIdx="12" presStyleCnt="24"/>
      <dgm:spPr/>
    </dgm:pt>
    <dgm:pt modelId="{6C7F5E37-52AC-45D6-9664-BC3749591BBC}" type="pres">
      <dgm:prSet presAssocID="{715F685F-1B97-4735-9D7D-F06EC3224C5B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FEFB6E19-5B2F-4FA2-B32C-4A76C28145E3}" type="pres">
      <dgm:prSet presAssocID="{715F685F-1B97-4735-9D7D-F06EC3224C5B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00AFB7F-2B1C-4F2F-90FD-534B3C5D185A}" type="pres">
      <dgm:prSet presAssocID="{868AF991-4EBE-4263-87F3-E67A2033B966}" presName="Name48" presStyleLbl="parChTrans1D3" presStyleIdx="13" presStyleCnt="24"/>
      <dgm:spPr/>
    </dgm:pt>
    <dgm:pt modelId="{D2CE9645-9167-4CA8-9FAC-E5772265F1F1}" type="pres">
      <dgm:prSet presAssocID="{111E18F4-EF8B-4472-A2D1-E52F7FB4758B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C62351E5-F559-42B9-866D-4EA52F6E0AC4}" type="pres">
      <dgm:prSet presAssocID="{111E18F4-EF8B-4472-A2D1-E52F7FB4758B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7F2C8B3F-CC73-4AF4-B493-142FDFBE4550}" type="pres">
      <dgm:prSet presAssocID="{111E18F4-EF8B-4472-A2D1-E52F7FB4758B}" presName="rootText" presStyleLbl="node3" presStyleIdx="13" presStyleCnt="24" custLinFactNeighborX="1223" custLinFactNeighborY="1014">
        <dgm:presLayoutVars>
          <dgm:chPref val="3"/>
        </dgm:presLayoutVars>
      </dgm:prSet>
      <dgm:spPr/>
    </dgm:pt>
    <dgm:pt modelId="{91F4DFD6-08F3-4398-8E0A-317B7ABFFAC4}" type="pres">
      <dgm:prSet presAssocID="{111E18F4-EF8B-4472-A2D1-E52F7FB4758B}" presName="rootConnector" presStyleLbl="node3" presStyleIdx="13" presStyleCnt="24"/>
      <dgm:spPr/>
    </dgm:pt>
    <dgm:pt modelId="{5A4AA5E7-9412-4F52-B3B0-D34C8376690E}" type="pres">
      <dgm:prSet presAssocID="{111E18F4-EF8B-4472-A2D1-E52F7FB4758B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56D83448-7242-4F44-A164-1F2F2EA1B593}" type="pres">
      <dgm:prSet presAssocID="{111E18F4-EF8B-4472-A2D1-E52F7FB4758B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780BE9DB-483E-4D39-959E-0895D44A0731}" type="pres">
      <dgm:prSet presAssocID="{2285AABB-1B9B-4D96-92EB-A1ECC28EC77A}" presName="Name48" presStyleLbl="parChTrans1D3" presStyleIdx="14" presStyleCnt="24"/>
      <dgm:spPr/>
    </dgm:pt>
    <dgm:pt modelId="{460E50AD-5371-4F35-81B3-87C773ED6693}" type="pres">
      <dgm:prSet presAssocID="{0BFE6632-1AB2-41A4-A1CF-679F098C1CE8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D9F28B0D-1A61-48BA-B550-A33256A06117}" type="pres">
      <dgm:prSet presAssocID="{0BFE6632-1AB2-41A4-A1CF-679F098C1CE8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A3E4031B-8BAB-4B77-A326-269F825A8EE1}" type="pres">
      <dgm:prSet presAssocID="{0BFE6632-1AB2-41A4-A1CF-679F098C1CE8}" presName="rootText" presStyleLbl="node3" presStyleIdx="14" presStyleCnt="24" custLinFactNeighborX="1223" custLinFactNeighborY="1014">
        <dgm:presLayoutVars>
          <dgm:chPref val="3"/>
        </dgm:presLayoutVars>
      </dgm:prSet>
      <dgm:spPr/>
    </dgm:pt>
    <dgm:pt modelId="{B9C07A85-7AF3-4DDB-BED5-54AAA28C4482}" type="pres">
      <dgm:prSet presAssocID="{0BFE6632-1AB2-41A4-A1CF-679F098C1CE8}" presName="rootConnector" presStyleLbl="node3" presStyleIdx="14" presStyleCnt="24"/>
      <dgm:spPr/>
    </dgm:pt>
    <dgm:pt modelId="{07BC0911-8342-4145-9032-C569E224ADCB}" type="pres">
      <dgm:prSet presAssocID="{0BFE6632-1AB2-41A4-A1CF-679F098C1CE8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0667F164-DD16-4F5D-93FD-59C74A5582C8}" type="pres">
      <dgm:prSet presAssocID="{0BFE6632-1AB2-41A4-A1CF-679F098C1CE8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1679F611-1768-4DF1-92D2-2ABA33F52954}" type="pres">
      <dgm:prSet presAssocID="{D1F08918-E87A-4827-96EB-197E1D459CA4}" presName="Name48" presStyleLbl="parChTrans1D3" presStyleIdx="15" presStyleCnt="24"/>
      <dgm:spPr/>
    </dgm:pt>
    <dgm:pt modelId="{3EB3B2BF-83E3-43EC-8B4A-22E5A8006260}" type="pres">
      <dgm:prSet presAssocID="{145CDE4C-D961-40ED-AD5C-4F15CABC75FB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AF597625-1C9B-4EFB-89C7-964B32D14CF1}" type="pres">
      <dgm:prSet presAssocID="{145CDE4C-D961-40ED-AD5C-4F15CABC75FB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BC6D9694-E2FB-466A-9121-F6DA2CA4E423}" type="pres">
      <dgm:prSet presAssocID="{145CDE4C-D961-40ED-AD5C-4F15CABC75FB}" presName="rootText" presStyleLbl="node3" presStyleIdx="15" presStyleCnt="24" custLinFactNeighborX="1223" custLinFactNeighborY="1014">
        <dgm:presLayoutVars>
          <dgm:chPref val="3"/>
        </dgm:presLayoutVars>
      </dgm:prSet>
      <dgm:spPr/>
    </dgm:pt>
    <dgm:pt modelId="{ED85CF53-B366-40FC-A1B2-AC0A7E230913}" type="pres">
      <dgm:prSet presAssocID="{145CDE4C-D961-40ED-AD5C-4F15CABC75FB}" presName="rootConnector" presStyleLbl="node3" presStyleIdx="15" presStyleCnt="24"/>
      <dgm:spPr/>
    </dgm:pt>
    <dgm:pt modelId="{516CA77B-2490-4C12-BE3E-3D3BE5F54CF1}" type="pres">
      <dgm:prSet presAssocID="{145CDE4C-D961-40ED-AD5C-4F15CABC75FB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0992B6CE-88A6-4CA3-BBCB-69055B955878}" type="pres">
      <dgm:prSet presAssocID="{145CDE4C-D961-40ED-AD5C-4F15CABC75FB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546EDD2-AE2D-4CCC-A153-7110360B9BEC}" type="pres">
      <dgm:prSet presAssocID="{5CF60ADD-7448-4FA0-B129-3579EFE6BDBF}" presName="Name48" presStyleLbl="parChTrans1D3" presStyleIdx="16" presStyleCnt="24"/>
      <dgm:spPr/>
    </dgm:pt>
    <dgm:pt modelId="{9FE3402F-57AD-46ED-9414-75CC69E8BB3C}" type="pres">
      <dgm:prSet presAssocID="{78529EF1-C1C6-4CD6-BDBF-4ADB1B3719D4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8C2A3C82-3AAD-41A6-82CB-8B35916F6F8D}" type="pres">
      <dgm:prSet presAssocID="{78529EF1-C1C6-4CD6-BDBF-4ADB1B3719D4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34C6C65D-2FB2-4BC6-85E7-4981197D899A}" type="pres">
      <dgm:prSet presAssocID="{78529EF1-C1C6-4CD6-BDBF-4ADB1B3719D4}" presName="rootText" presStyleLbl="node3" presStyleIdx="16" presStyleCnt="24" custLinFactNeighborX="1223" custLinFactNeighborY="1014">
        <dgm:presLayoutVars>
          <dgm:chPref val="3"/>
        </dgm:presLayoutVars>
      </dgm:prSet>
      <dgm:spPr/>
    </dgm:pt>
    <dgm:pt modelId="{D9F8732B-C34D-4E46-89C0-591665126EF3}" type="pres">
      <dgm:prSet presAssocID="{78529EF1-C1C6-4CD6-BDBF-4ADB1B3719D4}" presName="rootConnector" presStyleLbl="node3" presStyleIdx="16" presStyleCnt="24"/>
      <dgm:spPr/>
    </dgm:pt>
    <dgm:pt modelId="{1E256350-75A4-4879-934C-E6C51E7ACD72}" type="pres">
      <dgm:prSet presAssocID="{78529EF1-C1C6-4CD6-BDBF-4ADB1B3719D4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3AD8370-2A2A-4C04-815A-4FA7C374EABB}" type="pres">
      <dgm:prSet presAssocID="{78529EF1-C1C6-4CD6-BDBF-4ADB1B3719D4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F09995D-9ADF-410B-B9C8-980791CB2CCA}" type="pres">
      <dgm:prSet presAssocID="{90625E7B-6F51-44B8-8D09-1D1DDBA1196A}" presName="Name48" presStyleLbl="parChTrans1D3" presStyleIdx="17" presStyleCnt="24"/>
      <dgm:spPr/>
    </dgm:pt>
    <dgm:pt modelId="{729C1684-45D7-415C-807D-87B4138A02A2}" type="pres">
      <dgm:prSet presAssocID="{C2E12818-6442-4FFE-AF51-2B8034F01904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B6553E9A-67F4-47BD-B1CA-34EA958D6C88}" type="pres">
      <dgm:prSet presAssocID="{C2E12818-6442-4FFE-AF51-2B8034F01904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B3E7BAB-573F-4360-9513-1138FF22520D}" type="pres">
      <dgm:prSet presAssocID="{C2E12818-6442-4FFE-AF51-2B8034F01904}" presName="rootText" presStyleLbl="node3" presStyleIdx="17" presStyleCnt="24" custLinFactNeighborX="1223" custLinFactNeighborY="1014">
        <dgm:presLayoutVars>
          <dgm:chPref val="3"/>
        </dgm:presLayoutVars>
      </dgm:prSet>
      <dgm:spPr/>
    </dgm:pt>
    <dgm:pt modelId="{3A7E4F99-5702-44D9-A6EF-995F4A043CF2}" type="pres">
      <dgm:prSet presAssocID="{C2E12818-6442-4FFE-AF51-2B8034F01904}" presName="rootConnector" presStyleLbl="node3" presStyleIdx="17" presStyleCnt="24"/>
      <dgm:spPr/>
    </dgm:pt>
    <dgm:pt modelId="{2A79C507-D6EF-446C-AE25-810C09200218}" type="pres">
      <dgm:prSet presAssocID="{C2E12818-6442-4FFE-AF51-2B8034F01904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F38401C1-EF18-4082-BEE1-17349386AA67}" type="pres">
      <dgm:prSet presAssocID="{C2E12818-6442-4FFE-AF51-2B8034F01904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DC47B5BE-0D25-4337-B97F-303E26D4FF58}" type="pres">
      <dgm:prSet presAssocID="{25AF2A20-742B-4B54-82EE-1A36C3C1A1C1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C52852C6-20B4-46A2-B6DA-5FE9764A5987}" type="pres">
      <dgm:prSet presAssocID="{CC20C97E-EFDD-4A67-821C-3B85E1B7A98A}" presName="Name37" presStyleLbl="parChTrans1D2" presStyleIdx="3" presStyleCnt="4"/>
      <dgm:spPr/>
    </dgm:pt>
    <dgm:pt modelId="{B608C61A-120B-4251-B9EB-E7EDC8273B6F}" type="pres">
      <dgm:prSet presAssocID="{D9AFF782-FE71-42BB-99D0-C8D65EEC9AB8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6DEDE116-3EA2-4404-BA72-3E63AF293AAD}" type="pres">
      <dgm:prSet presAssocID="{D9AFF782-FE71-42BB-99D0-C8D65EEC9AB8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3A91F1D-7D22-4985-85A0-25585DC5988D}" type="pres">
      <dgm:prSet presAssocID="{D9AFF782-FE71-42BB-99D0-C8D65EEC9AB8}" presName="rootText" presStyleLbl="node2" presStyleIdx="3" presStyleCnt="4" custScaleX="113600">
        <dgm:presLayoutVars>
          <dgm:chPref val="3"/>
        </dgm:presLayoutVars>
      </dgm:prSet>
      <dgm:spPr/>
    </dgm:pt>
    <dgm:pt modelId="{C6591505-D2DB-4716-ADD2-239A1C546601}" type="pres">
      <dgm:prSet presAssocID="{D9AFF782-FE71-42BB-99D0-C8D65EEC9AB8}" presName="rootConnector" presStyleLbl="node2" presStyleIdx="3" presStyleCnt="4"/>
      <dgm:spPr/>
    </dgm:pt>
    <dgm:pt modelId="{938C0902-ABBE-4EAB-8859-4C995FBF347B}" type="pres">
      <dgm:prSet presAssocID="{D9AFF782-FE71-42BB-99D0-C8D65EEC9AB8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624BD74D-0A26-4504-89C2-C0CE0AB010B7}" type="pres">
      <dgm:prSet presAssocID="{C578214E-0A14-4CEF-9DE7-9D43947495E8}" presName="Name48" presStyleLbl="parChTrans1D3" presStyleIdx="18" presStyleCnt="24"/>
      <dgm:spPr/>
    </dgm:pt>
    <dgm:pt modelId="{50712217-9B09-4EE8-97B8-7FFA82E90CAF}" type="pres">
      <dgm:prSet presAssocID="{C57E2B08-C14F-4730-8F05-46A4E50E07A4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2584DB84-6D5D-4941-9889-C877F4F137C8}" type="pres">
      <dgm:prSet presAssocID="{C57E2B08-C14F-4730-8F05-46A4E50E07A4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BD124048-E30E-4AF4-8927-D2BF6DF4E839}" type="pres">
      <dgm:prSet presAssocID="{C57E2B08-C14F-4730-8F05-46A4E50E07A4}" presName="rootText" presStyleLbl="node3" presStyleIdx="18" presStyleCnt="24" custLinFactNeighborX="1223" custLinFactNeighborY="1014">
        <dgm:presLayoutVars>
          <dgm:chPref val="3"/>
        </dgm:presLayoutVars>
      </dgm:prSet>
      <dgm:spPr/>
    </dgm:pt>
    <dgm:pt modelId="{266370AC-8E10-4BE9-8937-5CACF751948A}" type="pres">
      <dgm:prSet presAssocID="{C57E2B08-C14F-4730-8F05-46A4E50E07A4}" presName="rootConnector" presStyleLbl="node3" presStyleIdx="18" presStyleCnt="24"/>
      <dgm:spPr/>
    </dgm:pt>
    <dgm:pt modelId="{0A7035F7-D8A1-4D40-96C5-ED61913FA500}" type="pres">
      <dgm:prSet presAssocID="{C57E2B08-C14F-4730-8F05-46A4E50E07A4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E25535BC-DEEC-4619-8D55-743647BB00EC}" type="pres">
      <dgm:prSet presAssocID="{C57E2B08-C14F-4730-8F05-46A4E50E07A4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E4B24ED9-AEA6-4719-9AAC-19425E50102E}" type="pres">
      <dgm:prSet presAssocID="{35915763-0031-42C8-BC36-F3886FBA273E}" presName="Name48" presStyleLbl="parChTrans1D3" presStyleIdx="19" presStyleCnt="24"/>
      <dgm:spPr/>
    </dgm:pt>
    <dgm:pt modelId="{F3B32609-A687-45C6-A410-EBD5DD62AE65}" type="pres">
      <dgm:prSet presAssocID="{7CCC1F36-2DB0-4F7B-B68E-5AD0930837A4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3A92B88B-6963-4975-BD04-61542137B14A}" type="pres">
      <dgm:prSet presAssocID="{7CCC1F36-2DB0-4F7B-B68E-5AD0930837A4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4BC7984-6149-4663-938B-04A9C51DF1FB}" type="pres">
      <dgm:prSet presAssocID="{7CCC1F36-2DB0-4F7B-B68E-5AD0930837A4}" presName="rootText" presStyleLbl="node3" presStyleIdx="19" presStyleCnt="24" custLinFactNeighborX="1223" custLinFactNeighborY="1014">
        <dgm:presLayoutVars>
          <dgm:chPref val="3"/>
        </dgm:presLayoutVars>
      </dgm:prSet>
      <dgm:spPr/>
    </dgm:pt>
    <dgm:pt modelId="{2C260D77-769B-4ABC-98F4-4E6E3CB1EF90}" type="pres">
      <dgm:prSet presAssocID="{7CCC1F36-2DB0-4F7B-B68E-5AD0930837A4}" presName="rootConnector" presStyleLbl="node3" presStyleIdx="19" presStyleCnt="24"/>
      <dgm:spPr/>
    </dgm:pt>
    <dgm:pt modelId="{8AC5A5D0-225B-45A7-B460-89BB69579712}" type="pres">
      <dgm:prSet presAssocID="{7CCC1F36-2DB0-4F7B-B68E-5AD0930837A4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A77269D1-D7AC-4886-9B9C-6921666DD936}" type="pres">
      <dgm:prSet presAssocID="{7CCC1F36-2DB0-4F7B-B68E-5AD0930837A4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C0D3BB45-9D19-4703-88C2-66BEE4E2B973}" type="pres">
      <dgm:prSet presAssocID="{7EEEA0F8-229D-441F-9E5A-7A6022DD9844}" presName="Name48" presStyleLbl="parChTrans1D3" presStyleIdx="20" presStyleCnt="24"/>
      <dgm:spPr/>
    </dgm:pt>
    <dgm:pt modelId="{00ACDC46-0062-4993-8D79-BFE8DBC0B4FF}" type="pres">
      <dgm:prSet presAssocID="{DAE2CEBD-542D-43AB-BA07-6EFDDF5C6135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0AEF970B-6922-4981-A39C-AE271B214187}" type="pres">
      <dgm:prSet presAssocID="{DAE2CEBD-542D-43AB-BA07-6EFDDF5C6135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59C16821-136A-42CE-A32E-53F10B407A80}" type="pres">
      <dgm:prSet presAssocID="{DAE2CEBD-542D-43AB-BA07-6EFDDF5C6135}" presName="rootText" presStyleLbl="node3" presStyleIdx="20" presStyleCnt="24" custLinFactNeighborX="1223" custLinFactNeighborY="1014">
        <dgm:presLayoutVars>
          <dgm:chPref val="3"/>
        </dgm:presLayoutVars>
      </dgm:prSet>
      <dgm:spPr/>
    </dgm:pt>
    <dgm:pt modelId="{ECF123A4-F45E-45C6-B1D6-1E39217B7B2C}" type="pres">
      <dgm:prSet presAssocID="{DAE2CEBD-542D-43AB-BA07-6EFDDF5C6135}" presName="rootConnector" presStyleLbl="node3" presStyleIdx="20" presStyleCnt="24"/>
      <dgm:spPr/>
    </dgm:pt>
    <dgm:pt modelId="{6DD4D02D-D95C-4310-8003-891DC4F32932}" type="pres">
      <dgm:prSet presAssocID="{DAE2CEBD-542D-43AB-BA07-6EFDDF5C6135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5543DF53-49F4-4BCA-95A1-083550ED700E}" type="pres">
      <dgm:prSet presAssocID="{DAE2CEBD-542D-43AB-BA07-6EFDDF5C6135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180CF6A-AD39-4810-94ED-3BA4F0BB8147}" type="pres">
      <dgm:prSet presAssocID="{05D21AD6-D91C-4DBF-A630-E8D733B7496D}" presName="Name48" presStyleLbl="parChTrans1D3" presStyleIdx="21" presStyleCnt="24"/>
      <dgm:spPr/>
    </dgm:pt>
    <dgm:pt modelId="{BE262D98-1443-40EC-B1E2-248A4A512673}" type="pres">
      <dgm:prSet presAssocID="{AAC41667-D540-428A-8E75-4A12EB13EC01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469E3A06-CC11-40B1-B3C7-72ACC7F56BB2}" type="pres">
      <dgm:prSet presAssocID="{AAC41667-D540-428A-8E75-4A12EB13EC01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9BFB6C1-D823-46CA-84D1-1520903300FC}" type="pres">
      <dgm:prSet presAssocID="{AAC41667-D540-428A-8E75-4A12EB13EC01}" presName="rootText" presStyleLbl="node3" presStyleIdx="21" presStyleCnt="24" custLinFactNeighborX="1223" custLinFactNeighborY="1014">
        <dgm:presLayoutVars>
          <dgm:chPref val="3"/>
        </dgm:presLayoutVars>
      </dgm:prSet>
      <dgm:spPr/>
    </dgm:pt>
    <dgm:pt modelId="{7F82E3ED-1AB7-46C3-AFE6-1D1C8EDF0CA5}" type="pres">
      <dgm:prSet presAssocID="{AAC41667-D540-428A-8E75-4A12EB13EC01}" presName="rootConnector" presStyleLbl="node3" presStyleIdx="21" presStyleCnt="24"/>
      <dgm:spPr/>
    </dgm:pt>
    <dgm:pt modelId="{AE348AF0-6158-4AEF-88FB-08E520EFE8E0}" type="pres">
      <dgm:prSet presAssocID="{AAC41667-D540-428A-8E75-4A12EB13EC01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1ECE731C-F505-41BC-AB5D-174509F0191B}" type="pres">
      <dgm:prSet presAssocID="{AAC41667-D540-428A-8E75-4A12EB13EC01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59B232EF-2D1D-49CB-9869-94894A759754}" type="pres">
      <dgm:prSet presAssocID="{BD54E422-EC94-4558-9536-4F99BD20C32B}" presName="Name48" presStyleLbl="parChTrans1D3" presStyleIdx="22" presStyleCnt="24"/>
      <dgm:spPr/>
    </dgm:pt>
    <dgm:pt modelId="{3C0E049D-849A-4267-9D46-240008F38999}" type="pres">
      <dgm:prSet presAssocID="{6DBB3597-3C04-4049-92F1-06AFC741A484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6691932E-CF57-4CC4-B264-D170AB37EEE3}" type="pres">
      <dgm:prSet presAssocID="{6DBB3597-3C04-4049-92F1-06AFC741A484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51F33CE0-C792-43E6-9B95-4AA844009EE5}" type="pres">
      <dgm:prSet presAssocID="{6DBB3597-3C04-4049-92F1-06AFC741A484}" presName="rootText" presStyleLbl="node3" presStyleIdx="22" presStyleCnt="24" custLinFactNeighborX="1223" custLinFactNeighborY="1014">
        <dgm:presLayoutVars>
          <dgm:chPref val="3"/>
        </dgm:presLayoutVars>
      </dgm:prSet>
      <dgm:spPr/>
    </dgm:pt>
    <dgm:pt modelId="{E727AD94-075F-49A2-8531-01CD1C7D6333}" type="pres">
      <dgm:prSet presAssocID="{6DBB3597-3C04-4049-92F1-06AFC741A484}" presName="rootConnector" presStyleLbl="node3" presStyleIdx="22" presStyleCnt="24"/>
      <dgm:spPr/>
    </dgm:pt>
    <dgm:pt modelId="{2553921A-A42D-4097-BE44-602F98390533}" type="pres">
      <dgm:prSet presAssocID="{6DBB3597-3C04-4049-92F1-06AFC741A484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6CA001DC-A2C5-4CD8-B74C-FC7BF906F393}" type="pres">
      <dgm:prSet presAssocID="{6DBB3597-3C04-4049-92F1-06AFC741A484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99AC2CD4-F44A-4EEF-B4A6-6FADC26E591F}" type="pres">
      <dgm:prSet presAssocID="{8513E0CD-EC2D-43A3-9E8A-79D1239C67AA}" presName="Name48" presStyleLbl="parChTrans1D3" presStyleIdx="23" presStyleCnt="24"/>
      <dgm:spPr/>
    </dgm:pt>
    <dgm:pt modelId="{AB91E17C-4A58-41F1-9A77-0678B3916AA9}" type="pres">
      <dgm:prSet presAssocID="{60E23311-5A15-4A61-B576-FA949D3F2A3F}" presName="hierRoot2" presStyleCnt="0">
        <dgm:presLayoutVars>
          <dgm:hierBranch val="hang"/>
        </dgm:presLayoutVars>
      </dgm:prSet>
      <dgm:spPr>
        <a:scene3d>
          <a:camera prst="orthographicFront"/>
          <a:lightRig rig="threePt" dir="t"/>
        </a:scene3d>
        <a:sp3d>
          <a:bevelT/>
        </a:sp3d>
      </dgm:spPr>
    </dgm:pt>
    <dgm:pt modelId="{9DFAC541-F92A-46F9-A763-E00334E8F15C}" type="pres">
      <dgm:prSet presAssocID="{60E23311-5A15-4A61-B576-FA949D3F2A3F}" presName="rootComposite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433408A7-7634-4E8E-BAFE-7CB90EE04D80}" type="pres">
      <dgm:prSet presAssocID="{60E23311-5A15-4A61-B576-FA949D3F2A3F}" presName="rootText" presStyleLbl="node3" presStyleIdx="23" presStyleCnt="24" custLinFactNeighborX="1223" custLinFactNeighborY="1014">
        <dgm:presLayoutVars>
          <dgm:chPref val="3"/>
        </dgm:presLayoutVars>
      </dgm:prSet>
      <dgm:spPr/>
    </dgm:pt>
    <dgm:pt modelId="{A3D2F00E-DC6E-4BD2-B5CB-B130A82EAB73}" type="pres">
      <dgm:prSet presAssocID="{60E23311-5A15-4A61-B576-FA949D3F2A3F}" presName="rootConnector" presStyleLbl="node3" presStyleIdx="23" presStyleCnt="24"/>
      <dgm:spPr/>
    </dgm:pt>
    <dgm:pt modelId="{452C5EBE-613C-4962-8476-8ED70E5D346D}" type="pres">
      <dgm:prSet presAssocID="{60E23311-5A15-4A61-B576-FA949D3F2A3F}" presName="hierChild4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8C784859-FFB0-4AA0-8042-0CCE7112680F}" type="pres">
      <dgm:prSet presAssocID="{60E23311-5A15-4A61-B576-FA949D3F2A3F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2FE1CF98-76D1-4570-9A8A-D319916AAC7F}" type="pres">
      <dgm:prSet presAssocID="{D9AFF782-FE71-42BB-99D0-C8D65EEC9AB8}" presName="hierChild5" presStyleCnt="0"/>
      <dgm:spPr>
        <a:scene3d>
          <a:camera prst="orthographicFront"/>
          <a:lightRig rig="threePt" dir="t"/>
        </a:scene3d>
        <a:sp3d>
          <a:bevelT/>
        </a:sp3d>
      </dgm:spPr>
    </dgm:pt>
    <dgm:pt modelId="{A01BFD0A-DF36-4B6D-9BA0-3A05A52ED7B1}" type="pres">
      <dgm:prSet presAssocID="{735E0ECF-1473-4459-9782-B3BFD89D844B}" presName="hierChild3" presStyleCnt="0"/>
      <dgm:spPr>
        <a:scene3d>
          <a:camera prst="orthographicFront"/>
          <a:lightRig rig="threePt" dir="t"/>
        </a:scene3d>
        <a:sp3d>
          <a:bevelT/>
        </a:sp3d>
      </dgm:spPr>
    </dgm:pt>
  </dgm:ptLst>
  <dgm:cxnLst>
    <dgm:cxn modelId="{A5A43201-3CF9-4F0C-AA9E-656CF7BD415C}" type="presOf" srcId="{16816A87-973E-4B4F-A654-1165D3D6BD11}" destId="{15DD8594-E37B-44FE-84D2-9389401D1F5C}" srcOrd="1" destOrd="0" presId="urn:microsoft.com/office/officeart/2005/8/layout/orgChart1"/>
    <dgm:cxn modelId="{199E3F01-772A-4A2B-A5BF-23D4A0D8AAF4}" srcId="{D9AFF782-FE71-42BB-99D0-C8D65EEC9AB8}" destId="{6DBB3597-3C04-4049-92F1-06AFC741A484}" srcOrd="4" destOrd="0" parTransId="{BD54E422-EC94-4558-9536-4F99BD20C32B}" sibTransId="{DF6B88A1-65D4-4CD1-B63A-DB42E49B80BF}"/>
    <dgm:cxn modelId="{B727C704-BABA-4DE5-949B-F2D44D9FA491}" type="presOf" srcId="{0BFE6632-1AB2-41A4-A1CF-679F098C1CE8}" destId="{B9C07A85-7AF3-4DDB-BED5-54AAA28C4482}" srcOrd="1" destOrd="0" presId="urn:microsoft.com/office/officeart/2005/8/layout/orgChart1"/>
    <dgm:cxn modelId="{16075805-C8D5-44E8-8221-D6624EEE6295}" type="presOf" srcId="{60E23311-5A15-4A61-B576-FA949D3F2A3F}" destId="{433408A7-7634-4E8E-BAFE-7CB90EE04D80}" srcOrd="0" destOrd="0" presId="urn:microsoft.com/office/officeart/2005/8/layout/orgChart1"/>
    <dgm:cxn modelId="{33D3D205-392B-46B9-BD5F-2E06FB08D454}" type="presOf" srcId="{BFB12218-AA60-4734-930A-3690A4E28382}" destId="{26EB3FCF-F188-4EAE-B369-742B4646CBAA}" srcOrd="1" destOrd="0" presId="urn:microsoft.com/office/officeart/2005/8/layout/orgChart1"/>
    <dgm:cxn modelId="{CE4BB30B-966B-45C3-A669-B76BD99C3168}" type="presOf" srcId="{0BFE6632-1AB2-41A4-A1CF-679F098C1CE8}" destId="{A3E4031B-8BAB-4B77-A326-269F825A8EE1}" srcOrd="0" destOrd="0" presId="urn:microsoft.com/office/officeart/2005/8/layout/orgChart1"/>
    <dgm:cxn modelId="{E0BDFD0C-89DC-4BA7-A6C6-E09C4AAEEBD5}" type="presOf" srcId="{6DBB3597-3C04-4049-92F1-06AFC741A484}" destId="{E727AD94-075F-49A2-8531-01CD1C7D6333}" srcOrd="1" destOrd="0" presId="urn:microsoft.com/office/officeart/2005/8/layout/orgChart1"/>
    <dgm:cxn modelId="{ECA41010-649D-443E-9B2D-018CAF5EA53C}" type="presOf" srcId="{29066F49-233A-4351-9A07-E45EE37F9688}" destId="{B6B31DC6-278B-442A-B004-071F51C3CB41}" srcOrd="0" destOrd="0" presId="urn:microsoft.com/office/officeart/2005/8/layout/orgChart1"/>
    <dgm:cxn modelId="{D9E37111-B8E5-4806-AAD1-7B9FA8B19E12}" srcId="{AEB5C877-C77B-47BD-825A-482B3EB5DF5F}" destId="{735E0ECF-1473-4459-9782-B3BFD89D844B}" srcOrd="0" destOrd="0" parTransId="{90F12E4B-19E3-4560-90AB-454891BF7004}" sibTransId="{ACF038FB-1CE1-4A98-8F2E-9A6C83F1B13E}"/>
    <dgm:cxn modelId="{6ED7AC12-B68A-4209-96F6-7E5CFBEBC6F3}" type="presOf" srcId="{AAC41667-D540-428A-8E75-4A12EB13EC01}" destId="{29BFB6C1-D823-46CA-84D1-1520903300FC}" srcOrd="0" destOrd="0" presId="urn:microsoft.com/office/officeart/2005/8/layout/orgChart1"/>
    <dgm:cxn modelId="{773ACF13-72DD-4E44-A744-86AE58E32183}" srcId="{D9AFF782-FE71-42BB-99D0-C8D65EEC9AB8}" destId="{DAE2CEBD-542D-43AB-BA07-6EFDDF5C6135}" srcOrd="2" destOrd="0" parTransId="{7EEEA0F8-229D-441F-9E5A-7A6022DD9844}" sibTransId="{B2CE2347-CD23-4E77-8EE2-A3E9E5D45FDC}"/>
    <dgm:cxn modelId="{E6016615-0926-4B8A-A2D5-F95DA9136F32}" type="presOf" srcId="{55D3AE3F-3FF9-459E-AA41-4FFD3A4B530A}" destId="{F721A2C3-B74E-4B93-9D96-D10D55204BB2}" srcOrd="0" destOrd="0" presId="urn:microsoft.com/office/officeart/2005/8/layout/orgChart1"/>
    <dgm:cxn modelId="{B1CE5917-1F8F-4958-A855-816A635D7B1C}" type="presOf" srcId="{60E23311-5A15-4A61-B576-FA949D3F2A3F}" destId="{A3D2F00E-DC6E-4BD2-B5CB-B130A82EAB73}" srcOrd="1" destOrd="0" presId="urn:microsoft.com/office/officeart/2005/8/layout/orgChart1"/>
    <dgm:cxn modelId="{27C8FB17-792C-4ABD-B119-C78631A2B968}" srcId="{C4171510-A219-4D73-ABD0-9340201AB08B}" destId="{EF0A4041-6C46-4B93-AC8F-400BFAEA32CE}" srcOrd="2" destOrd="0" parTransId="{B3DF8B2E-F63B-4C81-B13E-ACAE6BECD028}" sibTransId="{4FD8CD33-F03F-4380-9B0F-0F5E88BBD306}"/>
    <dgm:cxn modelId="{ED740D19-2A19-45BF-9624-3628378D0526}" type="presOf" srcId="{16816A87-973E-4B4F-A654-1165D3D6BD11}" destId="{0B3673FB-5A00-41D7-A466-568C6A22B051}" srcOrd="0" destOrd="0" presId="urn:microsoft.com/office/officeart/2005/8/layout/orgChart1"/>
    <dgm:cxn modelId="{F68A1222-B433-44F5-9C83-80C472B9452D}" type="presOf" srcId="{AAC41667-D540-428A-8E75-4A12EB13EC01}" destId="{7F82E3ED-1AB7-46C3-AFE6-1D1C8EDF0CA5}" srcOrd="1" destOrd="0" presId="urn:microsoft.com/office/officeart/2005/8/layout/orgChart1"/>
    <dgm:cxn modelId="{E3D87F22-EEA2-486C-A3F7-2113400DD4D6}" type="presOf" srcId="{3F407392-4167-4C51-A077-D7329DB2CED1}" destId="{7530D462-01FB-4E6D-9118-B2167C4604DC}" srcOrd="1" destOrd="0" presId="urn:microsoft.com/office/officeart/2005/8/layout/orgChart1"/>
    <dgm:cxn modelId="{DDE97A23-B107-4301-843B-9FAB7A3824CE}" srcId="{735E0ECF-1473-4459-9782-B3BFD89D844B}" destId="{25AF2A20-742B-4B54-82EE-1A36C3C1A1C1}" srcOrd="2" destOrd="0" parTransId="{DD5605C9-86D4-46AB-815E-97791D76E890}" sibTransId="{DB2CF243-4E5E-43F5-BC45-86118435809D}"/>
    <dgm:cxn modelId="{46B04127-D0A8-4C5E-894B-CE18DD1B80E5}" srcId="{5D030A46-7792-4815-B57B-046A07F0140A}" destId="{16816A87-973E-4B4F-A654-1165D3D6BD11}" srcOrd="3" destOrd="0" parTransId="{A097BC90-7C7B-4417-B541-121A504AFDFB}" sibTransId="{1455817B-A8D7-45E2-9E06-FEB2383BDF0C}"/>
    <dgm:cxn modelId="{86782B2C-514A-48FE-A3E2-90B82A68E940}" type="presOf" srcId="{7CCC1F36-2DB0-4F7B-B68E-5AD0930837A4}" destId="{24BC7984-6149-4663-938B-04A9C51DF1FB}" srcOrd="0" destOrd="0" presId="urn:microsoft.com/office/officeart/2005/8/layout/orgChart1"/>
    <dgm:cxn modelId="{39718F2F-F1BB-4543-94B9-E375F01D1237}" srcId="{735E0ECF-1473-4459-9782-B3BFD89D844B}" destId="{5D030A46-7792-4815-B57B-046A07F0140A}" srcOrd="0" destOrd="0" parTransId="{93793C77-22A1-4452-AA5B-CD75C3A2088D}" sibTransId="{23F7F991-0E15-4B2C-9412-38FC07AC3355}"/>
    <dgm:cxn modelId="{BF796633-D964-451F-B9F3-256C8D0C471D}" type="presOf" srcId="{DD5605C9-86D4-46AB-815E-97791D76E890}" destId="{04B36B14-FDED-4614-BB74-97EE5BB8F52D}" srcOrd="0" destOrd="0" presId="urn:microsoft.com/office/officeart/2005/8/layout/orgChart1"/>
    <dgm:cxn modelId="{CF675233-7C34-4FD6-8FEC-05E2C4C6685E}" type="presOf" srcId="{C2BCB542-154D-41AA-BC2F-0175A751E962}" destId="{A4260DFB-585E-4A73-816C-F9AEEDDA9394}" srcOrd="0" destOrd="0" presId="urn:microsoft.com/office/officeart/2005/8/layout/orgChart1"/>
    <dgm:cxn modelId="{CF678533-5A30-4B9E-82F6-58A6F0C30F27}" type="presOf" srcId="{C2E12818-6442-4FFE-AF51-2B8034F01904}" destId="{9B3E7BAB-573F-4360-9513-1138FF22520D}" srcOrd="0" destOrd="0" presId="urn:microsoft.com/office/officeart/2005/8/layout/orgChart1"/>
    <dgm:cxn modelId="{7345F433-8A83-4398-A19E-D7925B83ADCD}" type="presOf" srcId="{145CDE4C-D961-40ED-AD5C-4F15CABC75FB}" destId="{BC6D9694-E2FB-466A-9121-F6DA2CA4E423}" srcOrd="0" destOrd="0" presId="urn:microsoft.com/office/officeart/2005/8/layout/orgChart1"/>
    <dgm:cxn modelId="{0E72D436-B8EE-4BEE-AA3A-24FF9B257880}" srcId="{C4171510-A219-4D73-ABD0-9340201AB08B}" destId="{B35741F1-64E8-425C-8768-F1973D6B9FCD}" srcOrd="1" destOrd="0" parTransId="{F7724F3E-23A6-4AE0-9E34-B131A4643726}" sibTransId="{8B689FC8-9BB4-4215-BCC7-149B8015AFDB}"/>
    <dgm:cxn modelId="{29A1E63A-EF8B-4B5E-BC29-34D435171C1D}" type="presOf" srcId="{145CDE4C-D961-40ED-AD5C-4F15CABC75FB}" destId="{ED85CF53-B366-40FC-A1B2-AC0A7E230913}" srcOrd="1" destOrd="0" presId="urn:microsoft.com/office/officeart/2005/8/layout/orgChart1"/>
    <dgm:cxn modelId="{7EF0843E-A080-43B0-8B93-EEBDB762DB4E}" type="presOf" srcId="{D9AFF782-FE71-42BB-99D0-C8D65EEC9AB8}" destId="{93A91F1D-7D22-4985-85A0-25585DC5988D}" srcOrd="0" destOrd="0" presId="urn:microsoft.com/office/officeart/2005/8/layout/orgChart1"/>
    <dgm:cxn modelId="{211EB95B-E29C-4C90-9CA4-6271E55946F4}" type="presOf" srcId="{B35741F1-64E8-425C-8768-F1973D6B9FCD}" destId="{5F232BDD-EEA6-4F5D-A6CC-275A9E5D3873}" srcOrd="1" destOrd="0" presId="urn:microsoft.com/office/officeart/2005/8/layout/orgChart1"/>
    <dgm:cxn modelId="{4E511641-1217-4A7C-8DAB-9186647BB2E0}" type="presOf" srcId="{ED3A2050-56C8-4E42-802B-51DA016DCD9B}" destId="{2E13FAE0-9CEB-482E-BAA7-799105B372E0}" srcOrd="0" destOrd="0" presId="urn:microsoft.com/office/officeart/2005/8/layout/orgChart1"/>
    <dgm:cxn modelId="{D7918162-D46D-40AF-AC97-E3652225FDFD}" type="presOf" srcId="{78529EF1-C1C6-4CD6-BDBF-4ADB1B3719D4}" destId="{D9F8732B-C34D-4E46-89C0-591665126EF3}" srcOrd="1" destOrd="0" presId="urn:microsoft.com/office/officeart/2005/8/layout/orgChart1"/>
    <dgm:cxn modelId="{A61EE544-CE24-4F3B-A5CE-4C7D53B1251F}" srcId="{25AF2A20-742B-4B54-82EE-1A36C3C1A1C1}" destId="{78529EF1-C1C6-4CD6-BDBF-4ADB1B3719D4}" srcOrd="4" destOrd="0" parTransId="{5CF60ADD-7448-4FA0-B129-3579EFE6BDBF}" sibTransId="{2CE863CE-E8BB-4110-960E-C20F50638BCB}"/>
    <dgm:cxn modelId="{58422365-772C-4175-AA18-C4E518358597}" type="presOf" srcId="{DAE2CEBD-542D-43AB-BA07-6EFDDF5C6135}" destId="{ECF123A4-F45E-45C6-B1D6-1E39217B7B2C}" srcOrd="1" destOrd="0" presId="urn:microsoft.com/office/officeart/2005/8/layout/orgChart1"/>
    <dgm:cxn modelId="{4EF13E66-5137-4973-945B-7F351A5B460B}" type="presOf" srcId="{868AF991-4EBE-4263-87F3-E67A2033B966}" destId="{900AFB7F-2B1C-4F2F-90FD-534B3C5D185A}" srcOrd="0" destOrd="0" presId="urn:microsoft.com/office/officeart/2005/8/layout/orgChart1"/>
    <dgm:cxn modelId="{31C90A48-C72C-491D-A92D-3A474CB7D479}" type="presOf" srcId="{5D030A46-7792-4815-B57B-046A07F0140A}" destId="{2FD465CE-D641-4F07-9394-155CB7FBF3F3}" srcOrd="1" destOrd="0" presId="urn:microsoft.com/office/officeart/2005/8/layout/orgChart1"/>
    <dgm:cxn modelId="{A3A3CE4A-4227-45C3-9470-06F72CEE1655}" type="presOf" srcId="{3F407392-4167-4C51-A077-D7329DB2CED1}" destId="{36764980-1D1F-4C31-B763-CBCF535AD06A}" srcOrd="0" destOrd="0" presId="urn:microsoft.com/office/officeart/2005/8/layout/orgChart1"/>
    <dgm:cxn modelId="{DF2CFB4A-6267-4CBA-B60A-0D7B059FEE7D}" type="presOf" srcId="{F7724F3E-23A6-4AE0-9E34-B131A4643726}" destId="{4C203ED4-6493-487D-88B2-D43CA89A714C}" srcOrd="0" destOrd="0" presId="urn:microsoft.com/office/officeart/2005/8/layout/orgChart1"/>
    <dgm:cxn modelId="{7389EE6D-2C0D-4341-B380-0AA3CF1B2B6F}" type="presOf" srcId="{6DBB3597-3C04-4049-92F1-06AFC741A484}" destId="{51F33CE0-C792-43E6-9B95-4AA844009EE5}" srcOrd="0" destOrd="0" presId="urn:microsoft.com/office/officeart/2005/8/layout/orgChart1"/>
    <dgm:cxn modelId="{5DCEFA4E-474D-4641-B9A2-5EFB6814B5B9}" srcId="{D9AFF782-FE71-42BB-99D0-C8D65EEC9AB8}" destId="{C57E2B08-C14F-4730-8F05-46A4E50E07A4}" srcOrd="0" destOrd="0" parTransId="{C578214E-0A14-4CEF-9DE7-9D43947495E8}" sibTransId="{7BD763A0-B74E-43A3-82EC-2BE5ED2607C4}"/>
    <dgm:cxn modelId="{3DF12D4F-8EAA-492B-A007-FCBBC27FA52E}" type="presOf" srcId="{8513E0CD-EC2D-43A3-9E8A-79D1239C67AA}" destId="{99AC2CD4-F44A-4EEF-B4A6-6FADC26E591F}" srcOrd="0" destOrd="0" presId="urn:microsoft.com/office/officeart/2005/8/layout/orgChart1"/>
    <dgm:cxn modelId="{F1054851-897E-4CBB-BCA7-46740247E9B2}" type="presOf" srcId="{2B5C111A-46A9-4164-9BED-60CE7D0DEFD1}" destId="{DC8B994C-FFB3-4EA3-9D85-F30443BCB270}" srcOrd="0" destOrd="0" presId="urn:microsoft.com/office/officeart/2005/8/layout/orgChart1"/>
    <dgm:cxn modelId="{C3018271-3080-4BC6-AA9E-D3CAA348E0C9}" type="presOf" srcId="{263D3597-3144-4CF5-BD6B-15399BE82A0F}" destId="{9BB52E86-A6D3-49C2-97F6-2C4768AB09C8}" srcOrd="0" destOrd="0" presId="urn:microsoft.com/office/officeart/2005/8/layout/orgChart1"/>
    <dgm:cxn modelId="{23A42752-AF71-4226-9CD7-2E55F233AD0A}" type="presOf" srcId="{A097BC90-7C7B-4417-B541-121A504AFDFB}" destId="{935CF41C-8E65-4556-B698-9DE0FA9D7114}" srcOrd="0" destOrd="0" presId="urn:microsoft.com/office/officeart/2005/8/layout/orgChart1"/>
    <dgm:cxn modelId="{28DB3D52-AAB4-451A-A811-05AC8C1847C8}" srcId="{5D030A46-7792-4815-B57B-046A07F0140A}" destId="{BFB12218-AA60-4734-930A-3690A4E28382}" srcOrd="5" destOrd="0" parTransId="{ED3A2050-56C8-4E42-802B-51DA016DCD9B}" sibTransId="{D8B02DDF-7755-4456-82E7-1B3CB96E22B7}"/>
    <dgm:cxn modelId="{2F1D6354-7B09-4794-A04B-8A26BBBD3611}" type="presOf" srcId="{D9AFF782-FE71-42BB-99D0-C8D65EEC9AB8}" destId="{C6591505-D2DB-4716-ADD2-239A1C546601}" srcOrd="1" destOrd="0" presId="urn:microsoft.com/office/officeart/2005/8/layout/orgChart1"/>
    <dgm:cxn modelId="{05AD7474-C0BB-4F93-ADE9-F30E56F3E2C5}" type="presOf" srcId="{EB027484-7CEA-4CBE-BF58-C09DD2571399}" destId="{857E5E5B-C52C-4438-9D5D-D1C33F85DC46}" srcOrd="0" destOrd="0" presId="urn:microsoft.com/office/officeart/2005/8/layout/orgChart1"/>
    <dgm:cxn modelId="{AAEC8174-EFA4-45DE-8C80-FE9901949D2C}" type="presOf" srcId="{5D030A46-7792-4815-B57B-046A07F0140A}" destId="{AC5FF851-1189-4F95-8351-A97A476B2246}" srcOrd="0" destOrd="0" presId="urn:microsoft.com/office/officeart/2005/8/layout/orgChart1"/>
    <dgm:cxn modelId="{65C3E974-3B89-4F78-A903-B60859627B7D}" type="presOf" srcId="{B3DF8B2E-F63B-4C81-B13E-ACAE6BECD028}" destId="{6BE74CAF-23C6-4A5D-A858-3A2C21F0676F}" srcOrd="0" destOrd="0" presId="urn:microsoft.com/office/officeart/2005/8/layout/orgChart1"/>
    <dgm:cxn modelId="{B6FF9D55-E477-448C-B6E8-53F9A17F7A45}" srcId="{D9AFF782-FE71-42BB-99D0-C8D65EEC9AB8}" destId="{AAC41667-D540-428A-8E75-4A12EB13EC01}" srcOrd="3" destOrd="0" parTransId="{05D21AD6-D91C-4DBF-A630-E8D733B7496D}" sibTransId="{8512352E-4EB2-420B-AB9F-AE13563EBE33}"/>
    <dgm:cxn modelId="{BF3E4157-32F8-4E4D-AAD4-0542AAD89A89}" srcId="{25AF2A20-742B-4B54-82EE-1A36C3C1A1C1}" destId="{0BFE6632-1AB2-41A4-A1CF-679F098C1CE8}" srcOrd="2" destOrd="0" parTransId="{2285AABB-1B9B-4D96-92EB-A1ECC28EC77A}" sibTransId="{DCBB5A56-AC60-4485-9CF7-5DEBB8E7D79E}"/>
    <dgm:cxn modelId="{25039278-8FAC-456B-8C10-D9DB6F76A00E}" type="presOf" srcId="{5AA235E6-8A4F-4D6A-81B1-691C8B486EDE}" destId="{42228D22-AB2C-4818-946A-805E3D87E56C}" srcOrd="0" destOrd="0" presId="urn:microsoft.com/office/officeart/2005/8/layout/orgChart1"/>
    <dgm:cxn modelId="{40F7135A-4767-4F7F-B2A4-EE20FBFC9F20}" srcId="{C4171510-A219-4D73-ABD0-9340201AB08B}" destId="{29066F49-233A-4351-9A07-E45EE37F9688}" srcOrd="5" destOrd="0" parTransId="{0E2FA7DD-E009-4504-9517-CFB56DD92FAA}" sibTransId="{03E96195-4710-4401-9182-BED67203007C}"/>
    <dgm:cxn modelId="{B2A39E5A-DF76-4903-802E-3BBBF8A4D392}" type="presOf" srcId="{78529EF1-C1C6-4CD6-BDBF-4ADB1B3719D4}" destId="{34C6C65D-2FB2-4BC6-85E7-4981197D899A}" srcOrd="0" destOrd="0" presId="urn:microsoft.com/office/officeart/2005/8/layout/orgChart1"/>
    <dgm:cxn modelId="{0ECC4382-2D75-451B-B843-EB1DA230496D}" type="presOf" srcId="{C4171510-A219-4D73-ABD0-9340201AB08B}" destId="{71D9930B-3E8E-46AF-9F9D-50C9E28A14EA}" srcOrd="1" destOrd="0" presId="urn:microsoft.com/office/officeart/2005/8/layout/orgChart1"/>
    <dgm:cxn modelId="{D3AAEC83-5813-43B3-AF2D-5B107DC95D7A}" srcId="{25AF2A20-742B-4B54-82EE-1A36C3C1A1C1}" destId="{C2E12818-6442-4FFE-AF51-2B8034F01904}" srcOrd="5" destOrd="0" parTransId="{90625E7B-6F51-44B8-8D09-1D1DDBA1196A}" sibTransId="{6B8352BC-7427-4B2E-83EE-9E00425E76A5}"/>
    <dgm:cxn modelId="{C058F985-07F2-45CE-95DD-FF56667E4652}" type="presOf" srcId="{C578214E-0A14-4CEF-9DE7-9D43947495E8}" destId="{624BD74D-0A26-4504-89C2-C0CE0AB010B7}" srcOrd="0" destOrd="0" presId="urn:microsoft.com/office/officeart/2005/8/layout/orgChart1"/>
    <dgm:cxn modelId="{8487FF88-8AF7-4784-B911-F74341B0E40A}" srcId="{5D030A46-7792-4815-B57B-046A07F0140A}" destId="{55D3AE3F-3FF9-459E-AA41-4FFD3A4B530A}" srcOrd="2" destOrd="0" parTransId="{33A946CB-810B-4292-955D-3DF60C7CCC01}" sibTransId="{32DB0A79-289B-4BA9-9212-0AFD503BC2FE}"/>
    <dgm:cxn modelId="{CB138089-4E9F-49D4-A965-67B2284B85F7}" srcId="{5D030A46-7792-4815-B57B-046A07F0140A}" destId="{3F407392-4167-4C51-A077-D7329DB2CED1}" srcOrd="1" destOrd="0" parTransId="{2B5C111A-46A9-4164-9BED-60CE7D0DEFD1}" sibTransId="{32346728-CBD2-4171-9AB1-F5DFDB148C4F}"/>
    <dgm:cxn modelId="{A5EAAF89-1B8D-466F-BED5-7B1D3CC0458D}" type="presOf" srcId="{55D3AE3F-3FF9-459E-AA41-4FFD3A4B530A}" destId="{84E38710-D049-4F4F-A352-B9C5CABE829D}" srcOrd="1" destOrd="0" presId="urn:microsoft.com/office/officeart/2005/8/layout/orgChart1"/>
    <dgm:cxn modelId="{F5C8658B-C641-4D5B-9611-EA2FB5D34D15}" type="presOf" srcId="{735E0ECF-1473-4459-9782-B3BFD89D844B}" destId="{608CB659-20FB-4FD5-BD59-4EDC1CFD706A}" srcOrd="0" destOrd="0" presId="urn:microsoft.com/office/officeart/2005/8/layout/orgChart1"/>
    <dgm:cxn modelId="{5DE9968B-CBA3-4207-95E2-F8184BAEC330}" srcId="{5D030A46-7792-4815-B57B-046A07F0140A}" destId="{EB027484-7CEA-4CBE-BF58-C09DD2571399}" srcOrd="0" destOrd="0" parTransId="{9F1142D6-E2EB-4B62-9657-E1BFD7D3F930}" sibTransId="{7E2DFD20-B35C-4A34-A97B-6B21C5343AD5}"/>
    <dgm:cxn modelId="{F6FEC18B-BF5F-407A-A650-267888D65D30}" type="presOf" srcId="{5CF60ADD-7448-4FA0-B129-3579EFE6BDBF}" destId="{9546EDD2-AE2D-4CCC-A153-7110360B9BEC}" srcOrd="0" destOrd="0" presId="urn:microsoft.com/office/officeart/2005/8/layout/orgChart1"/>
    <dgm:cxn modelId="{8081D38F-C8C3-4AC8-BFD2-B831AAF463C6}" type="presOf" srcId="{C2E12818-6442-4FFE-AF51-2B8034F01904}" destId="{3A7E4F99-5702-44D9-A6EF-995F4A043CF2}" srcOrd="1" destOrd="0" presId="urn:microsoft.com/office/officeart/2005/8/layout/orgChart1"/>
    <dgm:cxn modelId="{CA516692-20C4-41D0-95E0-73890927DE1D}" type="presOf" srcId="{A4BA30C2-EE2A-4C06-9F5B-E5D4035B17CC}" destId="{FCDEEE3A-FB67-4F1F-BECE-E1F592365CFC}" srcOrd="1" destOrd="0" presId="urn:microsoft.com/office/officeart/2005/8/layout/orgChart1"/>
    <dgm:cxn modelId="{90188F96-7F21-4D87-B711-464FA2885D4A}" type="presOf" srcId="{0E2FA7DD-E009-4504-9517-CFB56DD92FAA}" destId="{34A12F56-B955-474C-A505-5319681CDCE2}" srcOrd="0" destOrd="0" presId="urn:microsoft.com/office/officeart/2005/8/layout/orgChart1"/>
    <dgm:cxn modelId="{180A7198-8CF4-4565-9B33-A7FE4FD6A189}" srcId="{735E0ECF-1473-4459-9782-B3BFD89D844B}" destId="{D9AFF782-FE71-42BB-99D0-C8D65EEC9AB8}" srcOrd="3" destOrd="0" parTransId="{CC20C97E-EFDD-4A67-821C-3B85E1B7A98A}" sibTransId="{9D23B64F-CF42-49F8-8317-84814164169C}"/>
    <dgm:cxn modelId="{33AF3999-0C75-4883-8FD9-D4CED9E7C594}" type="presOf" srcId="{A3996FD5-4B24-43FC-9B73-EB82E12E15BD}" destId="{A8A43A45-90AB-4F0B-9084-0D14C71D65E1}" srcOrd="0" destOrd="0" presId="urn:microsoft.com/office/officeart/2005/8/layout/orgChart1"/>
    <dgm:cxn modelId="{B8AEBA9E-980E-41E3-8BBE-4970C544A02F}" type="presOf" srcId="{33A946CB-810B-4292-955D-3DF60C7CCC01}" destId="{C795F404-0DA7-405E-81AE-25EEDEC41780}" srcOrd="0" destOrd="0" presId="urn:microsoft.com/office/officeart/2005/8/layout/orgChart1"/>
    <dgm:cxn modelId="{CAACDBA0-2D2E-4A6F-B145-B8710EB5B950}" type="presOf" srcId="{2285AABB-1B9B-4D96-92EB-A1ECC28EC77A}" destId="{780BE9DB-483E-4D39-959E-0895D44A0731}" srcOrd="0" destOrd="0" presId="urn:microsoft.com/office/officeart/2005/8/layout/orgChart1"/>
    <dgm:cxn modelId="{D1662BA2-0044-4920-AE9A-ECC67C36B483}" type="presOf" srcId="{93793C77-22A1-4452-AA5B-CD75C3A2088D}" destId="{AA2C4414-7EF3-4BAE-A19E-E52D628B3FAE}" srcOrd="0" destOrd="0" presId="urn:microsoft.com/office/officeart/2005/8/layout/orgChart1"/>
    <dgm:cxn modelId="{692D61A5-8CA8-4087-BFDE-BF052FCB83E0}" type="presOf" srcId="{EF0A4041-6C46-4B93-AC8F-400BFAEA32CE}" destId="{427A19DC-BCE0-44E5-BFEE-E56D90F4D79D}" srcOrd="0" destOrd="0" presId="urn:microsoft.com/office/officeart/2005/8/layout/orgChart1"/>
    <dgm:cxn modelId="{E22470A6-5529-4624-AFED-C98CADA68AC1}" srcId="{25AF2A20-742B-4B54-82EE-1A36C3C1A1C1}" destId="{145CDE4C-D961-40ED-AD5C-4F15CABC75FB}" srcOrd="3" destOrd="0" parTransId="{D1F08918-E87A-4827-96EB-197E1D459CA4}" sibTransId="{4B760262-8528-4642-BF4B-1AE4691717F0}"/>
    <dgm:cxn modelId="{BF0293A6-4CEC-4AF2-A719-BF9277F1B204}" type="presOf" srcId="{A3996FD5-4B24-43FC-9B73-EB82E12E15BD}" destId="{2C183873-6D40-4E8A-85C6-17B11FDDE65A}" srcOrd="1" destOrd="0" presId="urn:microsoft.com/office/officeart/2005/8/layout/orgChart1"/>
    <dgm:cxn modelId="{48C00EA7-7229-4A80-8979-32E97270BABA}" type="presOf" srcId="{715F685F-1B97-4735-9D7D-F06EC3224C5B}" destId="{77B0771F-7A97-4F55-B5C4-7CE3A24EA5FB}" srcOrd="0" destOrd="0" presId="urn:microsoft.com/office/officeart/2005/8/layout/orgChart1"/>
    <dgm:cxn modelId="{323899A7-DC80-4FAC-8C77-2B5F7104424F}" srcId="{25AF2A20-742B-4B54-82EE-1A36C3C1A1C1}" destId="{715F685F-1B97-4735-9D7D-F06EC3224C5B}" srcOrd="0" destOrd="0" parTransId="{FD10F90F-B12D-4036-82A3-E1375D5847BB}" sibTransId="{E45E934C-FA03-43C6-B0C5-1E366C0B57C1}"/>
    <dgm:cxn modelId="{1A46E2A8-2BAF-4F06-BD1D-31E4878853E3}" srcId="{C4171510-A219-4D73-ABD0-9340201AB08B}" destId="{A3996FD5-4B24-43FC-9B73-EB82E12E15BD}" srcOrd="0" destOrd="0" parTransId="{D31CC421-290B-41DD-B006-DFB813BBC81E}" sibTransId="{354B113F-3523-4050-AF52-AC08D8151D46}"/>
    <dgm:cxn modelId="{0C7711AA-3347-45A2-BD1F-7A8F83B66F66}" srcId="{735E0ECF-1473-4459-9782-B3BFD89D844B}" destId="{C4171510-A219-4D73-ABD0-9340201AB08B}" srcOrd="1" destOrd="0" parTransId="{C596D3E0-CF1C-4186-873C-266C0BDDA405}" sibTransId="{55F7E4BD-CE46-4672-9F79-FC039A5ADB47}"/>
    <dgm:cxn modelId="{CB8DCCAC-25D1-4E61-ACB4-AD6352B42AAD}" type="presOf" srcId="{90625E7B-6F51-44B8-8D09-1D1DDBA1196A}" destId="{9F09995D-9ADF-410B-B9C8-980791CB2CCA}" srcOrd="0" destOrd="0" presId="urn:microsoft.com/office/officeart/2005/8/layout/orgChart1"/>
    <dgm:cxn modelId="{5E4573AF-F39E-4291-B2CA-8D0415055841}" type="presOf" srcId="{05D21AD6-D91C-4DBF-A630-E8D733B7496D}" destId="{2180CF6A-AD39-4810-94ED-3BA4F0BB8147}" srcOrd="0" destOrd="0" presId="urn:microsoft.com/office/officeart/2005/8/layout/orgChart1"/>
    <dgm:cxn modelId="{C5F9A2B4-994F-4B02-89C5-4AA49B6FED21}" type="presOf" srcId="{25AF2A20-742B-4B54-82EE-1A36C3C1A1C1}" destId="{6F5EABE9-ADCF-4968-81B3-04689CB922B9}" srcOrd="0" destOrd="0" presId="urn:microsoft.com/office/officeart/2005/8/layout/orgChart1"/>
    <dgm:cxn modelId="{B087ABB6-6E8B-4769-8F35-E50C59AA8EF1}" type="presOf" srcId="{B35741F1-64E8-425C-8768-F1973D6B9FCD}" destId="{18F5216A-D74D-45D9-8EB3-3C45223454C9}" srcOrd="0" destOrd="0" presId="urn:microsoft.com/office/officeart/2005/8/layout/orgChart1"/>
    <dgm:cxn modelId="{AAB8B7B7-8B03-4579-878C-656416DE8E07}" srcId="{D9AFF782-FE71-42BB-99D0-C8D65EEC9AB8}" destId="{7CCC1F36-2DB0-4F7B-B68E-5AD0930837A4}" srcOrd="1" destOrd="0" parTransId="{35915763-0031-42C8-BC36-F3886FBA273E}" sibTransId="{A7B49983-6680-407F-B5BF-DF132722C100}"/>
    <dgm:cxn modelId="{57614DBA-70EE-4B8D-BC03-721A59D30590}" type="presOf" srcId="{43D09E61-C801-46FE-B2A8-596B45E28CE4}" destId="{9215CBBE-094A-48EA-8204-7340B0644A41}" srcOrd="1" destOrd="0" presId="urn:microsoft.com/office/officeart/2005/8/layout/orgChart1"/>
    <dgm:cxn modelId="{282883BB-F348-498A-83AC-6D3CB5479049}" type="presOf" srcId="{29066F49-233A-4351-9A07-E45EE37F9688}" destId="{F59E2F0D-8527-4450-B28C-2118C3FC4572}" srcOrd="1" destOrd="0" presId="urn:microsoft.com/office/officeart/2005/8/layout/orgChart1"/>
    <dgm:cxn modelId="{010821BD-9140-496C-B874-2845674FAE91}" srcId="{25AF2A20-742B-4B54-82EE-1A36C3C1A1C1}" destId="{111E18F4-EF8B-4472-A2D1-E52F7FB4758B}" srcOrd="1" destOrd="0" parTransId="{868AF991-4EBE-4263-87F3-E67A2033B966}" sibTransId="{5A391C39-3151-4BBC-A20E-ACFFA20617ED}"/>
    <dgm:cxn modelId="{69724BBD-BE74-4352-9CF2-75F987293A44}" type="presOf" srcId="{EF0A4041-6C46-4B93-AC8F-400BFAEA32CE}" destId="{3A4B4255-6EBC-4DB4-B121-4EA590078506}" srcOrd="1" destOrd="0" presId="urn:microsoft.com/office/officeart/2005/8/layout/orgChart1"/>
    <dgm:cxn modelId="{BEF6FDBD-B760-4A25-992B-543615E8DFC2}" type="presOf" srcId="{C4171510-A219-4D73-ABD0-9340201AB08B}" destId="{43FE5B09-28AC-4B39-BFE9-1C78BB5E9846}" srcOrd="0" destOrd="0" presId="urn:microsoft.com/office/officeart/2005/8/layout/orgChart1"/>
    <dgm:cxn modelId="{C5697BBF-A660-4CE2-BF5B-CBA9F3362CF8}" type="presOf" srcId="{C596D3E0-CF1C-4186-873C-266C0BDDA405}" destId="{2D62CCC2-632D-47CD-A6FB-AF9328D9C4C3}" srcOrd="0" destOrd="0" presId="urn:microsoft.com/office/officeart/2005/8/layout/orgChart1"/>
    <dgm:cxn modelId="{496904C0-1792-4660-ACBE-B480DA28ABB5}" type="presOf" srcId="{EB027484-7CEA-4CBE-BF58-C09DD2571399}" destId="{116439AF-00EB-4779-BBCF-EF4570381522}" srcOrd="1" destOrd="0" presId="urn:microsoft.com/office/officeart/2005/8/layout/orgChart1"/>
    <dgm:cxn modelId="{D1B983C0-2007-4A38-91D1-98934B2A816B}" type="presOf" srcId="{C57E2B08-C14F-4730-8F05-46A4E50E07A4}" destId="{BD124048-E30E-4AF4-8927-D2BF6DF4E839}" srcOrd="0" destOrd="0" presId="urn:microsoft.com/office/officeart/2005/8/layout/orgChart1"/>
    <dgm:cxn modelId="{B403CDC1-C16D-4AB5-B6FF-28F30E0CFC89}" type="presOf" srcId="{735612C9-9748-445A-8901-0517F5E97322}" destId="{89953E0F-E104-42A0-9060-1313CAEAD95B}" srcOrd="0" destOrd="0" presId="urn:microsoft.com/office/officeart/2005/8/layout/orgChart1"/>
    <dgm:cxn modelId="{52AB60C2-3BB1-4AA4-BE65-847609C82FF1}" type="presOf" srcId="{D31CC421-290B-41DD-B006-DFB813BBC81E}" destId="{F3A6A1AF-C065-491A-9B9F-6AC6C886A573}" srcOrd="0" destOrd="0" presId="urn:microsoft.com/office/officeart/2005/8/layout/orgChart1"/>
    <dgm:cxn modelId="{BFC146C5-3A76-4B73-BC01-3D378082D3E6}" type="presOf" srcId="{43D09E61-C801-46FE-B2A8-596B45E28CE4}" destId="{BF4F725A-972C-4E98-BF9C-89D197DEB066}" srcOrd="0" destOrd="0" presId="urn:microsoft.com/office/officeart/2005/8/layout/orgChart1"/>
    <dgm:cxn modelId="{655C3FC6-FF4D-46FD-8D3F-9F381934AB67}" type="presOf" srcId="{CC20C97E-EFDD-4A67-821C-3B85E1B7A98A}" destId="{C52852C6-20B4-46A2-B6DA-5FE9764A5987}" srcOrd="0" destOrd="0" presId="urn:microsoft.com/office/officeart/2005/8/layout/orgChart1"/>
    <dgm:cxn modelId="{02DFD0CC-2538-4C00-AA64-07624E871026}" srcId="{5D030A46-7792-4815-B57B-046A07F0140A}" destId="{735612C9-9748-445A-8901-0517F5E97322}" srcOrd="4" destOrd="0" parTransId="{5AA235E6-8A4F-4D6A-81B1-691C8B486EDE}" sibTransId="{AEDFDEFD-BDA8-47FD-87F7-6763CD7FB148}"/>
    <dgm:cxn modelId="{C87C28CE-18D0-4A5C-9401-129A6314442E}" type="presOf" srcId="{7CCC1F36-2DB0-4F7B-B68E-5AD0930837A4}" destId="{2C260D77-769B-4ABC-98F4-4E6E3CB1EF90}" srcOrd="1" destOrd="0" presId="urn:microsoft.com/office/officeart/2005/8/layout/orgChart1"/>
    <dgm:cxn modelId="{A6D4BFCE-CFCB-49E6-AF3B-315D07FCEF3D}" srcId="{D9AFF782-FE71-42BB-99D0-C8D65EEC9AB8}" destId="{60E23311-5A15-4A61-B576-FA949D3F2A3F}" srcOrd="5" destOrd="0" parTransId="{8513E0CD-EC2D-43A3-9E8A-79D1239C67AA}" sibTransId="{0D93062E-E401-4D24-B88D-60AEBA0999EA}"/>
    <dgm:cxn modelId="{BE355BD1-C56F-49D9-AD6D-73DB266939E2}" type="presOf" srcId="{BD54E422-EC94-4558-9536-4F99BD20C32B}" destId="{59B232EF-2D1D-49CB-9869-94894A759754}" srcOrd="0" destOrd="0" presId="urn:microsoft.com/office/officeart/2005/8/layout/orgChart1"/>
    <dgm:cxn modelId="{CF5896D1-69C2-444B-827E-94832FFE3A77}" type="presOf" srcId="{7EEEA0F8-229D-441F-9E5A-7A6022DD9844}" destId="{C0D3BB45-9D19-4703-88C2-66BEE4E2B973}" srcOrd="0" destOrd="0" presId="urn:microsoft.com/office/officeart/2005/8/layout/orgChart1"/>
    <dgm:cxn modelId="{9A60ADD1-2F08-4F0E-875D-F4BAB2719729}" type="presOf" srcId="{DAE2CEBD-542D-43AB-BA07-6EFDDF5C6135}" destId="{59C16821-136A-42CE-A32E-53F10B407A80}" srcOrd="0" destOrd="0" presId="urn:microsoft.com/office/officeart/2005/8/layout/orgChart1"/>
    <dgm:cxn modelId="{6908A9D4-4AE4-4458-A1DD-067D726D76DD}" type="presOf" srcId="{9F1142D6-E2EB-4B62-9657-E1BFD7D3F930}" destId="{6C54FE7E-1514-4596-B8CE-BCE54D5A582E}" srcOrd="0" destOrd="0" presId="urn:microsoft.com/office/officeart/2005/8/layout/orgChart1"/>
    <dgm:cxn modelId="{CF994ADA-1817-41AD-A61F-47E09902D3D0}" srcId="{C4171510-A219-4D73-ABD0-9340201AB08B}" destId="{A4BA30C2-EE2A-4C06-9F5B-E5D4035B17CC}" srcOrd="3" destOrd="0" parTransId="{C2BCB542-154D-41AA-BC2F-0175A751E962}" sibTransId="{ED78C04B-1E00-40C4-9DDF-16B2B13BAE0C}"/>
    <dgm:cxn modelId="{19BD47DB-3A42-4CBA-921B-FD76E6AE720B}" type="presOf" srcId="{C57E2B08-C14F-4730-8F05-46A4E50E07A4}" destId="{266370AC-8E10-4BE9-8937-5CACF751948A}" srcOrd="1" destOrd="0" presId="urn:microsoft.com/office/officeart/2005/8/layout/orgChart1"/>
    <dgm:cxn modelId="{D788CEDC-27B1-4634-89D0-AB929176F38E}" srcId="{C4171510-A219-4D73-ABD0-9340201AB08B}" destId="{43D09E61-C801-46FE-B2A8-596B45E28CE4}" srcOrd="4" destOrd="0" parTransId="{263D3597-3144-4CF5-BD6B-15399BE82A0F}" sibTransId="{88D0443D-A64F-49EA-B4B3-AF5DA1192A47}"/>
    <dgm:cxn modelId="{883B17DF-2EED-4A2C-8B98-C6FEEC866C6D}" type="presOf" srcId="{BFB12218-AA60-4734-930A-3690A4E28382}" destId="{412D4FC7-B1E0-4CC8-869F-17AD104B4D58}" srcOrd="0" destOrd="0" presId="urn:microsoft.com/office/officeart/2005/8/layout/orgChart1"/>
    <dgm:cxn modelId="{DE3BE4E7-96EB-4908-B779-45BE0C6399B2}" type="presOf" srcId="{FD10F90F-B12D-4036-82A3-E1375D5847BB}" destId="{EA7938CB-A733-44C1-A071-6CDE35869C6C}" srcOrd="0" destOrd="0" presId="urn:microsoft.com/office/officeart/2005/8/layout/orgChart1"/>
    <dgm:cxn modelId="{BD75FCE7-17DB-43E2-8442-1CA6CA8B6C64}" type="presOf" srcId="{A4BA30C2-EE2A-4C06-9F5B-E5D4035B17CC}" destId="{93931096-6600-46C3-98DA-74AC02AC0B71}" srcOrd="0" destOrd="0" presId="urn:microsoft.com/office/officeart/2005/8/layout/orgChart1"/>
    <dgm:cxn modelId="{2F2702F1-2C2C-4617-A586-A1761A85420B}" type="presOf" srcId="{111E18F4-EF8B-4472-A2D1-E52F7FB4758B}" destId="{7F2C8B3F-CC73-4AF4-B493-142FDFBE4550}" srcOrd="0" destOrd="0" presId="urn:microsoft.com/office/officeart/2005/8/layout/orgChart1"/>
    <dgm:cxn modelId="{54827AF5-6B17-4977-8860-1C1A85AE4F7D}" type="presOf" srcId="{35915763-0031-42C8-BC36-F3886FBA273E}" destId="{E4B24ED9-AEA6-4719-9AAC-19425E50102E}" srcOrd="0" destOrd="0" presId="urn:microsoft.com/office/officeart/2005/8/layout/orgChart1"/>
    <dgm:cxn modelId="{7EA7C5F5-79A3-4145-B2E2-630F8F86887E}" type="presOf" srcId="{AEB5C877-C77B-47BD-825A-482B3EB5DF5F}" destId="{008A9A80-BD13-446C-833B-2B197FFBA9AB}" srcOrd="0" destOrd="0" presId="urn:microsoft.com/office/officeart/2005/8/layout/orgChart1"/>
    <dgm:cxn modelId="{B09A44F6-FB9D-4A66-A1FF-DF393A33516C}" type="presOf" srcId="{25AF2A20-742B-4B54-82EE-1A36C3C1A1C1}" destId="{492EE907-4099-4D6E-8EF8-4A500681DBF1}" srcOrd="1" destOrd="0" presId="urn:microsoft.com/office/officeart/2005/8/layout/orgChart1"/>
    <dgm:cxn modelId="{1B91B9F7-2AE3-4EF1-9E47-274AA3B20355}" type="presOf" srcId="{715F685F-1B97-4735-9D7D-F06EC3224C5B}" destId="{3F7C118D-3B24-43E5-AF62-CC83C5D3392C}" srcOrd="1" destOrd="0" presId="urn:microsoft.com/office/officeart/2005/8/layout/orgChart1"/>
    <dgm:cxn modelId="{2F2130F8-4BF4-43C1-8B52-E58C7BF7CDA4}" type="presOf" srcId="{111E18F4-EF8B-4472-A2D1-E52F7FB4758B}" destId="{91F4DFD6-08F3-4398-8E0A-317B7ABFFAC4}" srcOrd="1" destOrd="0" presId="urn:microsoft.com/office/officeart/2005/8/layout/orgChart1"/>
    <dgm:cxn modelId="{D1BF9DF9-1189-4BB4-800D-FC4D5EE2293D}" type="presOf" srcId="{735E0ECF-1473-4459-9782-B3BFD89D844B}" destId="{663788D1-3B8C-4438-98A1-293F772704C9}" srcOrd="1" destOrd="0" presId="urn:microsoft.com/office/officeart/2005/8/layout/orgChart1"/>
    <dgm:cxn modelId="{A3C8C9FB-DE84-4531-89D2-96C842220372}" type="presOf" srcId="{D1F08918-E87A-4827-96EB-197E1D459CA4}" destId="{1679F611-1768-4DF1-92D2-2ABA33F52954}" srcOrd="0" destOrd="0" presId="urn:microsoft.com/office/officeart/2005/8/layout/orgChart1"/>
    <dgm:cxn modelId="{8086A3FF-ECFF-4374-AAEC-3FE624D3B52A}" type="presOf" srcId="{735612C9-9748-445A-8901-0517F5E97322}" destId="{933633F6-70B5-44A4-B5E1-C1D16DD871E4}" srcOrd="1" destOrd="0" presId="urn:microsoft.com/office/officeart/2005/8/layout/orgChart1"/>
    <dgm:cxn modelId="{2E4573A1-A4A1-49C3-92A3-B9B9C8247AE1}" type="presParOf" srcId="{008A9A80-BD13-446C-833B-2B197FFBA9AB}" destId="{ADF78B51-FF65-46D3-95B4-403BD752DD8A}" srcOrd="0" destOrd="0" presId="urn:microsoft.com/office/officeart/2005/8/layout/orgChart1"/>
    <dgm:cxn modelId="{C6508C64-7921-43C9-8100-1BC82469C1F5}" type="presParOf" srcId="{ADF78B51-FF65-46D3-95B4-403BD752DD8A}" destId="{D1481A51-9A8E-4E3F-ACFE-BBFBAA069003}" srcOrd="0" destOrd="0" presId="urn:microsoft.com/office/officeart/2005/8/layout/orgChart1"/>
    <dgm:cxn modelId="{5780DAB9-89DF-4203-8ADC-C2580D490F1F}" type="presParOf" srcId="{D1481A51-9A8E-4E3F-ACFE-BBFBAA069003}" destId="{608CB659-20FB-4FD5-BD59-4EDC1CFD706A}" srcOrd="0" destOrd="0" presId="urn:microsoft.com/office/officeart/2005/8/layout/orgChart1"/>
    <dgm:cxn modelId="{6EE2DC87-5CB0-4BBD-9968-4F1B5C6ABC26}" type="presParOf" srcId="{D1481A51-9A8E-4E3F-ACFE-BBFBAA069003}" destId="{663788D1-3B8C-4438-98A1-293F772704C9}" srcOrd="1" destOrd="0" presId="urn:microsoft.com/office/officeart/2005/8/layout/orgChart1"/>
    <dgm:cxn modelId="{B6E59371-BD2B-4A67-91A6-4677BEAAA408}" type="presParOf" srcId="{ADF78B51-FF65-46D3-95B4-403BD752DD8A}" destId="{B3767120-1D84-4CBF-A42A-7963C47D4D0B}" srcOrd="1" destOrd="0" presId="urn:microsoft.com/office/officeart/2005/8/layout/orgChart1"/>
    <dgm:cxn modelId="{AFC63573-FAFD-4581-85C9-1EC23A9F7A9E}" type="presParOf" srcId="{B3767120-1D84-4CBF-A42A-7963C47D4D0B}" destId="{AA2C4414-7EF3-4BAE-A19E-E52D628B3FAE}" srcOrd="0" destOrd="0" presId="urn:microsoft.com/office/officeart/2005/8/layout/orgChart1"/>
    <dgm:cxn modelId="{9253C694-DAFA-4083-8C03-6F64A39DD069}" type="presParOf" srcId="{B3767120-1D84-4CBF-A42A-7963C47D4D0B}" destId="{6387B0E3-D0C5-444F-9B93-1D720208E895}" srcOrd="1" destOrd="0" presId="urn:microsoft.com/office/officeart/2005/8/layout/orgChart1"/>
    <dgm:cxn modelId="{2D1522F9-BE14-419D-8FEB-4D68CC836705}" type="presParOf" srcId="{6387B0E3-D0C5-444F-9B93-1D720208E895}" destId="{12FC5992-2B6A-4B44-9993-4ACF04F605A0}" srcOrd="0" destOrd="0" presId="urn:microsoft.com/office/officeart/2005/8/layout/orgChart1"/>
    <dgm:cxn modelId="{B31F7DAE-E5E0-475E-A8EC-8D506EB990DE}" type="presParOf" srcId="{12FC5992-2B6A-4B44-9993-4ACF04F605A0}" destId="{AC5FF851-1189-4F95-8351-A97A476B2246}" srcOrd="0" destOrd="0" presId="urn:microsoft.com/office/officeart/2005/8/layout/orgChart1"/>
    <dgm:cxn modelId="{97EB837D-E706-48E3-8E2F-27CF3BBD0626}" type="presParOf" srcId="{12FC5992-2B6A-4B44-9993-4ACF04F605A0}" destId="{2FD465CE-D641-4F07-9394-155CB7FBF3F3}" srcOrd="1" destOrd="0" presId="urn:microsoft.com/office/officeart/2005/8/layout/orgChart1"/>
    <dgm:cxn modelId="{B0D087F3-5596-436B-B2D3-4CD9253D4CCC}" type="presParOf" srcId="{6387B0E3-D0C5-444F-9B93-1D720208E895}" destId="{C59FB238-8008-4F2B-BC0E-E3651B88BA6C}" srcOrd="1" destOrd="0" presId="urn:microsoft.com/office/officeart/2005/8/layout/orgChart1"/>
    <dgm:cxn modelId="{8AAD736B-C73C-4510-BD2D-EBE0D4189679}" type="presParOf" srcId="{C59FB238-8008-4F2B-BC0E-E3651B88BA6C}" destId="{6C54FE7E-1514-4596-B8CE-BCE54D5A582E}" srcOrd="0" destOrd="0" presId="urn:microsoft.com/office/officeart/2005/8/layout/orgChart1"/>
    <dgm:cxn modelId="{78DBE5D3-B336-4C6F-92C8-DD5921AE1032}" type="presParOf" srcId="{C59FB238-8008-4F2B-BC0E-E3651B88BA6C}" destId="{7D945FEB-5361-4AD6-B303-4D1323345AFD}" srcOrd="1" destOrd="0" presId="urn:microsoft.com/office/officeart/2005/8/layout/orgChart1"/>
    <dgm:cxn modelId="{2B6FF013-25DD-4E0D-9802-1C053022D6EF}" type="presParOf" srcId="{7D945FEB-5361-4AD6-B303-4D1323345AFD}" destId="{91AB74F7-9E90-4010-8B4C-0DCFF9C74B1D}" srcOrd="0" destOrd="0" presId="urn:microsoft.com/office/officeart/2005/8/layout/orgChart1"/>
    <dgm:cxn modelId="{30F6661C-B9B7-41C3-8A36-141C71F16CC7}" type="presParOf" srcId="{91AB74F7-9E90-4010-8B4C-0DCFF9C74B1D}" destId="{857E5E5B-C52C-4438-9D5D-D1C33F85DC46}" srcOrd="0" destOrd="0" presId="urn:microsoft.com/office/officeart/2005/8/layout/orgChart1"/>
    <dgm:cxn modelId="{77826211-BF16-4B2A-B449-F865ACDA846E}" type="presParOf" srcId="{91AB74F7-9E90-4010-8B4C-0DCFF9C74B1D}" destId="{116439AF-00EB-4779-BBCF-EF4570381522}" srcOrd="1" destOrd="0" presId="urn:microsoft.com/office/officeart/2005/8/layout/orgChart1"/>
    <dgm:cxn modelId="{4371FF61-4639-41E0-B8D2-54EAA592CB65}" type="presParOf" srcId="{7D945FEB-5361-4AD6-B303-4D1323345AFD}" destId="{B26C6A3D-750B-4C7E-86F3-4CA28EA85EAB}" srcOrd="1" destOrd="0" presId="urn:microsoft.com/office/officeart/2005/8/layout/orgChart1"/>
    <dgm:cxn modelId="{BA5A2545-D83C-4F2F-9ABF-830E4EA484A8}" type="presParOf" srcId="{7D945FEB-5361-4AD6-B303-4D1323345AFD}" destId="{5D7DF315-D2F7-466C-B680-AD076590EABC}" srcOrd="2" destOrd="0" presId="urn:microsoft.com/office/officeart/2005/8/layout/orgChart1"/>
    <dgm:cxn modelId="{F2630ADC-E72F-4175-A4E5-A92FDB1B19DD}" type="presParOf" srcId="{C59FB238-8008-4F2B-BC0E-E3651B88BA6C}" destId="{DC8B994C-FFB3-4EA3-9D85-F30443BCB270}" srcOrd="2" destOrd="0" presId="urn:microsoft.com/office/officeart/2005/8/layout/orgChart1"/>
    <dgm:cxn modelId="{F3A7B026-58CD-4C9C-A7A3-7FB23F8B668E}" type="presParOf" srcId="{C59FB238-8008-4F2B-BC0E-E3651B88BA6C}" destId="{A6B72F75-1778-48C5-A7E9-D7A3B9D90F78}" srcOrd="3" destOrd="0" presId="urn:microsoft.com/office/officeart/2005/8/layout/orgChart1"/>
    <dgm:cxn modelId="{4C54544B-4440-42C9-A38D-4953876DFE59}" type="presParOf" srcId="{A6B72F75-1778-48C5-A7E9-D7A3B9D90F78}" destId="{1E726FA3-AA1F-4DCD-A8E2-057242DC7FA1}" srcOrd="0" destOrd="0" presId="urn:microsoft.com/office/officeart/2005/8/layout/orgChart1"/>
    <dgm:cxn modelId="{C6BE028D-BE71-4628-8B6A-5385D1B77A4E}" type="presParOf" srcId="{1E726FA3-AA1F-4DCD-A8E2-057242DC7FA1}" destId="{36764980-1D1F-4C31-B763-CBCF535AD06A}" srcOrd="0" destOrd="0" presId="urn:microsoft.com/office/officeart/2005/8/layout/orgChart1"/>
    <dgm:cxn modelId="{953B7A4B-C6AB-4BF0-AE27-B09C3A6A7988}" type="presParOf" srcId="{1E726FA3-AA1F-4DCD-A8E2-057242DC7FA1}" destId="{7530D462-01FB-4E6D-9118-B2167C4604DC}" srcOrd="1" destOrd="0" presId="urn:microsoft.com/office/officeart/2005/8/layout/orgChart1"/>
    <dgm:cxn modelId="{042CAA59-0284-4B78-8206-14F23631C958}" type="presParOf" srcId="{A6B72F75-1778-48C5-A7E9-D7A3B9D90F78}" destId="{4AB6EF25-E66F-46AD-95C6-385EADF81F8B}" srcOrd="1" destOrd="0" presId="urn:microsoft.com/office/officeart/2005/8/layout/orgChart1"/>
    <dgm:cxn modelId="{4655BA80-017A-4B9C-B3C4-BB0CA35268DC}" type="presParOf" srcId="{A6B72F75-1778-48C5-A7E9-D7A3B9D90F78}" destId="{5DF0331A-8663-4F66-8867-F68E8D34C331}" srcOrd="2" destOrd="0" presId="urn:microsoft.com/office/officeart/2005/8/layout/orgChart1"/>
    <dgm:cxn modelId="{1B1BCB1C-FFDE-4D0C-B9F5-0C4029F97627}" type="presParOf" srcId="{C59FB238-8008-4F2B-BC0E-E3651B88BA6C}" destId="{C795F404-0DA7-405E-81AE-25EEDEC41780}" srcOrd="4" destOrd="0" presId="urn:microsoft.com/office/officeart/2005/8/layout/orgChart1"/>
    <dgm:cxn modelId="{13F46D23-9911-4FC2-8015-ECF5CE31F45B}" type="presParOf" srcId="{C59FB238-8008-4F2B-BC0E-E3651B88BA6C}" destId="{AD200E74-53F1-4DB5-A570-0CC6F572A8D1}" srcOrd="5" destOrd="0" presId="urn:microsoft.com/office/officeart/2005/8/layout/orgChart1"/>
    <dgm:cxn modelId="{3D286161-D6CF-42AE-BAAF-44634A98557D}" type="presParOf" srcId="{AD200E74-53F1-4DB5-A570-0CC6F572A8D1}" destId="{163ED4A3-4445-4E21-A75C-652C052FCCD5}" srcOrd="0" destOrd="0" presId="urn:microsoft.com/office/officeart/2005/8/layout/orgChart1"/>
    <dgm:cxn modelId="{8EF8D69C-EDC1-46DF-9601-B79358CA7BBC}" type="presParOf" srcId="{163ED4A3-4445-4E21-A75C-652C052FCCD5}" destId="{F721A2C3-B74E-4B93-9D96-D10D55204BB2}" srcOrd="0" destOrd="0" presId="urn:microsoft.com/office/officeart/2005/8/layout/orgChart1"/>
    <dgm:cxn modelId="{A6EE027F-56B5-49D1-B181-E9F6A253BA5E}" type="presParOf" srcId="{163ED4A3-4445-4E21-A75C-652C052FCCD5}" destId="{84E38710-D049-4F4F-A352-B9C5CABE829D}" srcOrd="1" destOrd="0" presId="urn:microsoft.com/office/officeart/2005/8/layout/orgChart1"/>
    <dgm:cxn modelId="{C911F53C-BF2C-4CD7-8267-B21908B2FF2F}" type="presParOf" srcId="{AD200E74-53F1-4DB5-A570-0CC6F572A8D1}" destId="{BC99E0E4-716F-410A-8A0F-C2B90704E717}" srcOrd="1" destOrd="0" presId="urn:microsoft.com/office/officeart/2005/8/layout/orgChart1"/>
    <dgm:cxn modelId="{B745BA92-368F-44F4-A824-FD41C20928E4}" type="presParOf" srcId="{AD200E74-53F1-4DB5-A570-0CC6F572A8D1}" destId="{2FF64663-7584-420A-AF91-2063BCE1A82C}" srcOrd="2" destOrd="0" presId="urn:microsoft.com/office/officeart/2005/8/layout/orgChart1"/>
    <dgm:cxn modelId="{6B461AC3-8401-4C50-A128-BF2660347474}" type="presParOf" srcId="{C59FB238-8008-4F2B-BC0E-E3651B88BA6C}" destId="{935CF41C-8E65-4556-B698-9DE0FA9D7114}" srcOrd="6" destOrd="0" presId="urn:microsoft.com/office/officeart/2005/8/layout/orgChart1"/>
    <dgm:cxn modelId="{236518A3-B788-4B61-8619-5AD2F215EA36}" type="presParOf" srcId="{C59FB238-8008-4F2B-BC0E-E3651B88BA6C}" destId="{E170CA6D-23B4-4844-8B47-FDBAC718FE09}" srcOrd="7" destOrd="0" presId="urn:microsoft.com/office/officeart/2005/8/layout/orgChart1"/>
    <dgm:cxn modelId="{B0943B77-C88C-4A2A-ABAF-58B54D23DAF6}" type="presParOf" srcId="{E170CA6D-23B4-4844-8B47-FDBAC718FE09}" destId="{CE9D54DE-C7E8-4197-B154-F698EE1726B3}" srcOrd="0" destOrd="0" presId="urn:microsoft.com/office/officeart/2005/8/layout/orgChart1"/>
    <dgm:cxn modelId="{0B2CD4C4-4B8A-47CF-870A-35C73E1B8310}" type="presParOf" srcId="{CE9D54DE-C7E8-4197-B154-F698EE1726B3}" destId="{0B3673FB-5A00-41D7-A466-568C6A22B051}" srcOrd="0" destOrd="0" presId="urn:microsoft.com/office/officeart/2005/8/layout/orgChart1"/>
    <dgm:cxn modelId="{51D1F27E-0C9A-44E2-9FA7-0442D6BA72B4}" type="presParOf" srcId="{CE9D54DE-C7E8-4197-B154-F698EE1726B3}" destId="{15DD8594-E37B-44FE-84D2-9389401D1F5C}" srcOrd="1" destOrd="0" presId="urn:microsoft.com/office/officeart/2005/8/layout/orgChart1"/>
    <dgm:cxn modelId="{37168742-7DDE-42FA-A1F5-4D50A67A88E6}" type="presParOf" srcId="{E170CA6D-23B4-4844-8B47-FDBAC718FE09}" destId="{D2DFC9FD-93CF-4229-8EFC-B6E3F7A1E748}" srcOrd="1" destOrd="0" presId="urn:microsoft.com/office/officeart/2005/8/layout/orgChart1"/>
    <dgm:cxn modelId="{AB026AF2-4B93-4AF8-96B8-6E45E8F6D627}" type="presParOf" srcId="{E170CA6D-23B4-4844-8B47-FDBAC718FE09}" destId="{2A8B32EE-D2E6-40BE-A5FA-1E15F9C6B7C6}" srcOrd="2" destOrd="0" presId="urn:microsoft.com/office/officeart/2005/8/layout/orgChart1"/>
    <dgm:cxn modelId="{EDFFE43C-B0DE-4F11-9150-16494C66D954}" type="presParOf" srcId="{C59FB238-8008-4F2B-BC0E-E3651B88BA6C}" destId="{42228D22-AB2C-4818-946A-805E3D87E56C}" srcOrd="8" destOrd="0" presId="urn:microsoft.com/office/officeart/2005/8/layout/orgChart1"/>
    <dgm:cxn modelId="{57063E01-5032-4934-91B0-F0ACA78A5BC2}" type="presParOf" srcId="{C59FB238-8008-4F2B-BC0E-E3651B88BA6C}" destId="{0AEC7CC6-126C-4828-811E-FD011492A4F5}" srcOrd="9" destOrd="0" presId="urn:microsoft.com/office/officeart/2005/8/layout/orgChart1"/>
    <dgm:cxn modelId="{1C7B04FC-2D03-4B6A-86EB-4123A65233F4}" type="presParOf" srcId="{0AEC7CC6-126C-4828-811E-FD011492A4F5}" destId="{0A79E047-91A7-45F0-A3D2-A02EFB655E37}" srcOrd="0" destOrd="0" presId="urn:microsoft.com/office/officeart/2005/8/layout/orgChart1"/>
    <dgm:cxn modelId="{B79F9E76-E6E2-4757-955F-1438F32C430E}" type="presParOf" srcId="{0A79E047-91A7-45F0-A3D2-A02EFB655E37}" destId="{89953E0F-E104-42A0-9060-1313CAEAD95B}" srcOrd="0" destOrd="0" presId="urn:microsoft.com/office/officeart/2005/8/layout/orgChart1"/>
    <dgm:cxn modelId="{5A2113E5-3AC6-4E61-9FD6-BBB4914DBF27}" type="presParOf" srcId="{0A79E047-91A7-45F0-A3D2-A02EFB655E37}" destId="{933633F6-70B5-44A4-B5E1-C1D16DD871E4}" srcOrd="1" destOrd="0" presId="urn:microsoft.com/office/officeart/2005/8/layout/orgChart1"/>
    <dgm:cxn modelId="{6687E6DA-91B2-4D47-94F4-94E563BACF3B}" type="presParOf" srcId="{0AEC7CC6-126C-4828-811E-FD011492A4F5}" destId="{A93FC3F0-3655-430F-B897-E27C4F22491A}" srcOrd="1" destOrd="0" presId="urn:microsoft.com/office/officeart/2005/8/layout/orgChart1"/>
    <dgm:cxn modelId="{9CE2C0BF-21E9-4C69-99CE-891F207A610D}" type="presParOf" srcId="{0AEC7CC6-126C-4828-811E-FD011492A4F5}" destId="{4B7E7497-7A5D-426F-A411-3BE809B98BE8}" srcOrd="2" destOrd="0" presId="urn:microsoft.com/office/officeart/2005/8/layout/orgChart1"/>
    <dgm:cxn modelId="{24835992-465A-4A2E-BC76-AF873DD5F159}" type="presParOf" srcId="{C59FB238-8008-4F2B-BC0E-E3651B88BA6C}" destId="{2E13FAE0-9CEB-482E-BAA7-799105B372E0}" srcOrd="10" destOrd="0" presId="urn:microsoft.com/office/officeart/2005/8/layout/orgChart1"/>
    <dgm:cxn modelId="{302C5379-2830-4270-B31B-0FE028F6952D}" type="presParOf" srcId="{C59FB238-8008-4F2B-BC0E-E3651B88BA6C}" destId="{36A8EE2A-D7DE-4732-AAFF-498234004AAB}" srcOrd="11" destOrd="0" presId="urn:microsoft.com/office/officeart/2005/8/layout/orgChart1"/>
    <dgm:cxn modelId="{D18CEB98-8A4D-44B6-BD43-45E4931AA72E}" type="presParOf" srcId="{36A8EE2A-D7DE-4732-AAFF-498234004AAB}" destId="{6AF2B56C-127B-4CCB-8566-50FCC75EE4B5}" srcOrd="0" destOrd="0" presId="urn:microsoft.com/office/officeart/2005/8/layout/orgChart1"/>
    <dgm:cxn modelId="{D1F3ED6B-580B-48B6-9885-A90D099D8840}" type="presParOf" srcId="{6AF2B56C-127B-4CCB-8566-50FCC75EE4B5}" destId="{412D4FC7-B1E0-4CC8-869F-17AD104B4D58}" srcOrd="0" destOrd="0" presId="urn:microsoft.com/office/officeart/2005/8/layout/orgChart1"/>
    <dgm:cxn modelId="{72CB15E8-5D40-45A9-B11C-F4F9EB186A93}" type="presParOf" srcId="{6AF2B56C-127B-4CCB-8566-50FCC75EE4B5}" destId="{26EB3FCF-F188-4EAE-B369-742B4646CBAA}" srcOrd="1" destOrd="0" presId="urn:microsoft.com/office/officeart/2005/8/layout/orgChart1"/>
    <dgm:cxn modelId="{62609367-9156-4ECD-AABB-3992ABC09E1F}" type="presParOf" srcId="{36A8EE2A-D7DE-4732-AAFF-498234004AAB}" destId="{AEC63EF5-482C-4C44-BF67-121FA08B49B6}" srcOrd="1" destOrd="0" presId="urn:microsoft.com/office/officeart/2005/8/layout/orgChart1"/>
    <dgm:cxn modelId="{F6DEC484-CA7C-4EB9-9658-3691C8312D6E}" type="presParOf" srcId="{36A8EE2A-D7DE-4732-AAFF-498234004AAB}" destId="{19567908-D9D7-453B-BB90-919669752509}" srcOrd="2" destOrd="0" presId="urn:microsoft.com/office/officeart/2005/8/layout/orgChart1"/>
    <dgm:cxn modelId="{E2390BDB-4761-49BA-9180-B6F14A732962}" type="presParOf" srcId="{6387B0E3-D0C5-444F-9B93-1D720208E895}" destId="{8349AF55-683F-4F61-A046-C0C13CC76D05}" srcOrd="2" destOrd="0" presId="urn:microsoft.com/office/officeart/2005/8/layout/orgChart1"/>
    <dgm:cxn modelId="{7BD6394D-8F17-4BB4-A796-453E0B0FEF31}" type="presParOf" srcId="{B3767120-1D84-4CBF-A42A-7963C47D4D0B}" destId="{2D62CCC2-632D-47CD-A6FB-AF9328D9C4C3}" srcOrd="2" destOrd="0" presId="urn:microsoft.com/office/officeart/2005/8/layout/orgChart1"/>
    <dgm:cxn modelId="{7838C3D0-25AC-4BFE-824D-CEFAEAF8AE3B}" type="presParOf" srcId="{B3767120-1D84-4CBF-A42A-7963C47D4D0B}" destId="{DFA3A91B-E297-4234-BFEC-E07215C4A4F0}" srcOrd="3" destOrd="0" presId="urn:microsoft.com/office/officeart/2005/8/layout/orgChart1"/>
    <dgm:cxn modelId="{398A7B00-0328-4A22-B05C-8FB008089D82}" type="presParOf" srcId="{DFA3A91B-E297-4234-BFEC-E07215C4A4F0}" destId="{09E9B259-37C6-4DAC-B977-55FDCFAE76AB}" srcOrd="0" destOrd="0" presId="urn:microsoft.com/office/officeart/2005/8/layout/orgChart1"/>
    <dgm:cxn modelId="{58E0FFDE-CA18-4AF2-AEB9-7C463A134CAC}" type="presParOf" srcId="{09E9B259-37C6-4DAC-B977-55FDCFAE76AB}" destId="{43FE5B09-28AC-4B39-BFE9-1C78BB5E9846}" srcOrd="0" destOrd="0" presId="urn:microsoft.com/office/officeart/2005/8/layout/orgChart1"/>
    <dgm:cxn modelId="{8DCF7358-67FC-4188-A36B-EBC493E4155A}" type="presParOf" srcId="{09E9B259-37C6-4DAC-B977-55FDCFAE76AB}" destId="{71D9930B-3E8E-46AF-9F9D-50C9E28A14EA}" srcOrd="1" destOrd="0" presId="urn:microsoft.com/office/officeart/2005/8/layout/orgChart1"/>
    <dgm:cxn modelId="{23BF2C8F-8CAA-47CC-B209-F9D7CB866B50}" type="presParOf" srcId="{DFA3A91B-E297-4234-BFEC-E07215C4A4F0}" destId="{CE602C07-2778-4BEB-9377-8EF46EEC3364}" srcOrd="1" destOrd="0" presId="urn:microsoft.com/office/officeart/2005/8/layout/orgChart1"/>
    <dgm:cxn modelId="{16DF71A8-376C-46AF-B665-ECA2F17CCDAF}" type="presParOf" srcId="{CE602C07-2778-4BEB-9377-8EF46EEC3364}" destId="{F3A6A1AF-C065-491A-9B9F-6AC6C886A573}" srcOrd="0" destOrd="0" presId="urn:microsoft.com/office/officeart/2005/8/layout/orgChart1"/>
    <dgm:cxn modelId="{C10A89EA-ABD0-4D88-A65D-50E98B51739C}" type="presParOf" srcId="{CE602C07-2778-4BEB-9377-8EF46EEC3364}" destId="{5AD9586A-22ED-482B-AB10-96CE9308A8D1}" srcOrd="1" destOrd="0" presId="urn:microsoft.com/office/officeart/2005/8/layout/orgChart1"/>
    <dgm:cxn modelId="{B68C1E7F-2306-4BAD-93C4-5BAA36D15812}" type="presParOf" srcId="{5AD9586A-22ED-482B-AB10-96CE9308A8D1}" destId="{BC401DEC-D9EE-4A52-A4BF-CD5CF4CE95EB}" srcOrd="0" destOrd="0" presId="urn:microsoft.com/office/officeart/2005/8/layout/orgChart1"/>
    <dgm:cxn modelId="{F9B71188-6CEC-41ED-BE8C-0DB8E7269B5C}" type="presParOf" srcId="{BC401DEC-D9EE-4A52-A4BF-CD5CF4CE95EB}" destId="{A8A43A45-90AB-4F0B-9084-0D14C71D65E1}" srcOrd="0" destOrd="0" presId="urn:microsoft.com/office/officeart/2005/8/layout/orgChart1"/>
    <dgm:cxn modelId="{774BE688-3531-4607-8FF6-76148BD2EB74}" type="presParOf" srcId="{BC401DEC-D9EE-4A52-A4BF-CD5CF4CE95EB}" destId="{2C183873-6D40-4E8A-85C6-17B11FDDE65A}" srcOrd="1" destOrd="0" presId="urn:microsoft.com/office/officeart/2005/8/layout/orgChart1"/>
    <dgm:cxn modelId="{EE377399-4DBE-4AB0-AAD3-2672BC783E23}" type="presParOf" srcId="{5AD9586A-22ED-482B-AB10-96CE9308A8D1}" destId="{5021666D-94CC-42EC-8201-FC8D1D0E328B}" srcOrd="1" destOrd="0" presId="urn:microsoft.com/office/officeart/2005/8/layout/orgChart1"/>
    <dgm:cxn modelId="{00F36B58-B651-4EEE-A8B9-CF37BEC7FCAB}" type="presParOf" srcId="{5AD9586A-22ED-482B-AB10-96CE9308A8D1}" destId="{98B6BC08-FD7A-4592-83DE-B656F5E44A89}" srcOrd="2" destOrd="0" presId="urn:microsoft.com/office/officeart/2005/8/layout/orgChart1"/>
    <dgm:cxn modelId="{93DA4626-D1E3-4C27-930D-A3CE17C31EC6}" type="presParOf" srcId="{CE602C07-2778-4BEB-9377-8EF46EEC3364}" destId="{4C203ED4-6493-487D-88B2-D43CA89A714C}" srcOrd="2" destOrd="0" presId="urn:microsoft.com/office/officeart/2005/8/layout/orgChart1"/>
    <dgm:cxn modelId="{63959EA9-C836-4F70-938D-D196A1374A44}" type="presParOf" srcId="{CE602C07-2778-4BEB-9377-8EF46EEC3364}" destId="{009DFB59-F6FC-441E-A568-A553B94CC9C6}" srcOrd="3" destOrd="0" presId="urn:microsoft.com/office/officeart/2005/8/layout/orgChart1"/>
    <dgm:cxn modelId="{FF243506-0234-4EE9-AD62-20CFC6A1850B}" type="presParOf" srcId="{009DFB59-F6FC-441E-A568-A553B94CC9C6}" destId="{E8118F91-3129-4A17-BAF4-8FEB49368EE0}" srcOrd="0" destOrd="0" presId="urn:microsoft.com/office/officeart/2005/8/layout/orgChart1"/>
    <dgm:cxn modelId="{DD65715A-CD77-4349-AFA4-B0C1EE8B1698}" type="presParOf" srcId="{E8118F91-3129-4A17-BAF4-8FEB49368EE0}" destId="{18F5216A-D74D-45D9-8EB3-3C45223454C9}" srcOrd="0" destOrd="0" presId="urn:microsoft.com/office/officeart/2005/8/layout/orgChart1"/>
    <dgm:cxn modelId="{4E2A0942-A59B-4A4D-B030-CAFD0B1B6A62}" type="presParOf" srcId="{E8118F91-3129-4A17-BAF4-8FEB49368EE0}" destId="{5F232BDD-EEA6-4F5D-A6CC-275A9E5D3873}" srcOrd="1" destOrd="0" presId="urn:microsoft.com/office/officeart/2005/8/layout/orgChart1"/>
    <dgm:cxn modelId="{E5145AF2-D995-4618-980D-FAC9D42B05D3}" type="presParOf" srcId="{009DFB59-F6FC-441E-A568-A553B94CC9C6}" destId="{A3B50B12-D250-49E7-A2FA-7E84645D48B9}" srcOrd="1" destOrd="0" presId="urn:microsoft.com/office/officeart/2005/8/layout/orgChart1"/>
    <dgm:cxn modelId="{7CA96B0A-F4B3-46B3-8909-21737D821490}" type="presParOf" srcId="{009DFB59-F6FC-441E-A568-A553B94CC9C6}" destId="{75B866EA-8F3B-4F0C-AC85-B5DDD3C05A5B}" srcOrd="2" destOrd="0" presId="urn:microsoft.com/office/officeart/2005/8/layout/orgChart1"/>
    <dgm:cxn modelId="{D1C945E1-035A-42FE-933A-EE77EBCFF37E}" type="presParOf" srcId="{CE602C07-2778-4BEB-9377-8EF46EEC3364}" destId="{6BE74CAF-23C6-4A5D-A858-3A2C21F0676F}" srcOrd="4" destOrd="0" presId="urn:microsoft.com/office/officeart/2005/8/layout/orgChart1"/>
    <dgm:cxn modelId="{FB4C4DA6-D16E-4A08-B6A5-BD73F2F1133B}" type="presParOf" srcId="{CE602C07-2778-4BEB-9377-8EF46EEC3364}" destId="{E1E7F1FE-AED2-46BA-B0AC-9AA98902DDA6}" srcOrd="5" destOrd="0" presId="urn:microsoft.com/office/officeart/2005/8/layout/orgChart1"/>
    <dgm:cxn modelId="{021A1E5D-6B7E-4DBA-AE6A-914973984A78}" type="presParOf" srcId="{E1E7F1FE-AED2-46BA-B0AC-9AA98902DDA6}" destId="{F7677E96-9016-46F8-A187-0A9136AC6B62}" srcOrd="0" destOrd="0" presId="urn:microsoft.com/office/officeart/2005/8/layout/orgChart1"/>
    <dgm:cxn modelId="{1B311FC7-C1FF-488B-BE71-592968C96D05}" type="presParOf" srcId="{F7677E96-9016-46F8-A187-0A9136AC6B62}" destId="{427A19DC-BCE0-44E5-BFEE-E56D90F4D79D}" srcOrd="0" destOrd="0" presId="urn:microsoft.com/office/officeart/2005/8/layout/orgChart1"/>
    <dgm:cxn modelId="{0166F830-AB3D-4617-9F71-A7F91060D395}" type="presParOf" srcId="{F7677E96-9016-46F8-A187-0A9136AC6B62}" destId="{3A4B4255-6EBC-4DB4-B121-4EA590078506}" srcOrd="1" destOrd="0" presId="urn:microsoft.com/office/officeart/2005/8/layout/orgChart1"/>
    <dgm:cxn modelId="{BC32BFB9-4D65-4D48-8ADA-9B5E60FE6055}" type="presParOf" srcId="{E1E7F1FE-AED2-46BA-B0AC-9AA98902DDA6}" destId="{47C0A63B-F66A-4F6E-B16C-5F20B0CEF754}" srcOrd="1" destOrd="0" presId="urn:microsoft.com/office/officeart/2005/8/layout/orgChart1"/>
    <dgm:cxn modelId="{1A6BEF7F-2C7D-426A-9C70-C01EF72A70D8}" type="presParOf" srcId="{E1E7F1FE-AED2-46BA-B0AC-9AA98902DDA6}" destId="{A9169E22-EB94-4EB9-A078-40FD62E86719}" srcOrd="2" destOrd="0" presId="urn:microsoft.com/office/officeart/2005/8/layout/orgChart1"/>
    <dgm:cxn modelId="{61BDC13C-143B-4A63-96E8-F0999D95BB1B}" type="presParOf" srcId="{CE602C07-2778-4BEB-9377-8EF46EEC3364}" destId="{A4260DFB-585E-4A73-816C-F9AEEDDA9394}" srcOrd="6" destOrd="0" presId="urn:microsoft.com/office/officeart/2005/8/layout/orgChart1"/>
    <dgm:cxn modelId="{0C4148E1-3125-4141-8F71-CA315484B3AD}" type="presParOf" srcId="{CE602C07-2778-4BEB-9377-8EF46EEC3364}" destId="{65359CC4-1199-40A6-9A5D-E339CCE06195}" srcOrd="7" destOrd="0" presId="urn:microsoft.com/office/officeart/2005/8/layout/orgChart1"/>
    <dgm:cxn modelId="{D2412DA6-A49C-4899-A184-4E6D22A58FF6}" type="presParOf" srcId="{65359CC4-1199-40A6-9A5D-E339CCE06195}" destId="{685BD7F1-E41B-4D8B-83BF-47C6EAEA87D0}" srcOrd="0" destOrd="0" presId="urn:microsoft.com/office/officeart/2005/8/layout/orgChart1"/>
    <dgm:cxn modelId="{073249EC-40BC-4352-AC24-51ABA74E84DC}" type="presParOf" srcId="{685BD7F1-E41B-4D8B-83BF-47C6EAEA87D0}" destId="{93931096-6600-46C3-98DA-74AC02AC0B71}" srcOrd="0" destOrd="0" presId="urn:microsoft.com/office/officeart/2005/8/layout/orgChart1"/>
    <dgm:cxn modelId="{5453A546-1605-4975-B242-3320EFE9087C}" type="presParOf" srcId="{685BD7F1-E41B-4D8B-83BF-47C6EAEA87D0}" destId="{FCDEEE3A-FB67-4F1F-BECE-E1F592365CFC}" srcOrd="1" destOrd="0" presId="urn:microsoft.com/office/officeart/2005/8/layout/orgChart1"/>
    <dgm:cxn modelId="{6D69C3C8-6F28-489E-98D1-16F1370F09B7}" type="presParOf" srcId="{65359CC4-1199-40A6-9A5D-E339CCE06195}" destId="{02632E63-6953-4BBB-9358-D0D0A0F62BB7}" srcOrd="1" destOrd="0" presId="urn:microsoft.com/office/officeart/2005/8/layout/orgChart1"/>
    <dgm:cxn modelId="{CED04932-ED2E-4755-9A9B-F8D86D5F3E3E}" type="presParOf" srcId="{65359CC4-1199-40A6-9A5D-E339CCE06195}" destId="{6356888D-CFDB-4DAB-958C-0207B0E8E05F}" srcOrd="2" destOrd="0" presId="urn:microsoft.com/office/officeart/2005/8/layout/orgChart1"/>
    <dgm:cxn modelId="{D294D968-208D-4282-86EA-66FEE9FE15AA}" type="presParOf" srcId="{CE602C07-2778-4BEB-9377-8EF46EEC3364}" destId="{9BB52E86-A6D3-49C2-97F6-2C4768AB09C8}" srcOrd="8" destOrd="0" presId="urn:microsoft.com/office/officeart/2005/8/layout/orgChart1"/>
    <dgm:cxn modelId="{F98D7162-C221-490E-8C36-6E47AFC8C57E}" type="presParOf" srcId="{CE602C07-2778-4BEB-9377-8EF46EEC3364}" destId="{15722F4A-64EC-41B1-A89F-7F50312897CB}" srcOrd="9" destOrd="0" presId="urn:microsoft.com/office/officeart/2005/8/layout/orgChart1"/>
    <dgm:cxn modelId="{3EFD8804-EE12-421E-8B49-146C91831FD1}" type="presParOf" srcId="{15722F4A-64EC-41B1-A89F-7F50312897CB}" destId="{704642B8-8C08-4A64-A891-EA2604FC6DCE}" srcOrd="0" destOrd="0" presId="urn:microsoft.com/office/officeart/2005/8/layout/orgChart1"/>
    <dgm:cxn modelId="{6749A98D-E655-458F-B076-CDC20BC30AFE}" type="presParOf" srcId="{704642B8-8C08-4A64-A891-EA2604FC6DCE}" destId="{BF4F725A-972C-4E98-BF9C-89D197DEB066}" srcOrd="0" destOrd="0" presId="urn:microsoft.com/office/officeart/2005/8/layout/orgChart1"/>
    <dgm:cxn modelId="{AD1201DC-167A-49C8-8C23-5C3D85FCB56B}" type="presParOf" srcId="{704642B8-8C08-4A64-A891-EA2604FC6DCE}" destId="{9215CBBE-094A-48EA-8204-7340B0644A41}" srcOrd="1" destOrd="0" presId="urn:microsoft.com/office/officeart/2005/8/layout/orgChart1"/>
    <dgm:cxn modelId="{C252A8AF-1842-467D-B293-C8E31D4C8B40}" type="presParOf" srcId="{15722F4A-64EC-41B1-A89F-7F50312897CB}" destId="{6D16C03C-8393-47FE-A73B-6E5C1457267B}" srcOrd="1" destOrd="0" presId="urn:microsoft.com/office/officeart/2005/8/layout/orgChart1"/>
    <dgm:cxn modelId="{29E039E8-CCA4-4631-A9C6-11AB05AE8564}" type="presParOf" srcId="{15722F4A-64EC-41B1-A89F-7F50312897CB}" destId="{F55F956D-EB59-4BE0-8593-EDF047D1ADED}" srcOrd="2" destOrd="0" presId="urn:microsoft.com/office/officeart/2005/8/layout/orgChart1"/>
    <dgm:cxn modelId="{F908268F-EAEB-4696-BC90-58ABE413329B}" type="presParOf" srcId="{CE602C07-2778-4BEB-9377-8EF46EEC3364}" destId="{34A12F56-B955-474C-A505-5319681CDCE2}" srcOrd="10" destOrd="0" presId="urn:microsoft.com/office/officeart/2005/8/layout/orgChart1"/>
    <dgm:cxn modelId="{1A20CB36-DE43-46F8-9E38-BA309729186E}" type="presParOf" srcId="{CE602C07-2778-4BEB-9377-8EF46EEC3364}" destId="{E2B0944B-E285-4403-9ECA-EB23DC5216F8}" srcOrd="11" destOrd="0" presId="urn:microsoft.com/office/officeart/2005/8/layout/orgChart1"/>
    <dgm:cxn modelId="{57B40B28-D57F-4A1E-B75F-A79DDF0CAD95}" type="presParOf" srcId="{E2B0944B-E285-4403-9ECA-EB23DC5216F8}" destId="{CAB01044-7835-402F-BFA5-8B68E6D94A8B}" srcOrd="0" destOrd="0" presId="urn:microsoft.com/office/officeart/2005/8/layout/orgChart1"/>
    <dgm:cxn modelId="{EEB411A8-2AC2-4A69-B4EE-6310F5FB7B86}" type="presParOf" srcId="{CAB01044-7835-402F-BFA5-8B68E6D94A8B}" destId="{B6B31DC6-278B-442A-B004-071F51C3CB41}" srcOrd="0" destOrd="0" presId="urn:microsoft.com/office/officeart/2005/8/layout/orgChart1"/>
    <dgm:cxn modelId="{E4ED34ED-11D3-4236-A88A-C62038FBB7E0}" type="presParOf" srcId="{CAB01044-7835-402F-BFA5-8B68E6D94A8B}" destId="{F59E2F0D-8527-4450-B28C-2118C3FC4572}" srcOrd="1" destOrd="0" presId="urn:microsoft.com/office/officeart/2005/8/layout/orgChart1"/>
    <dgm:cxn modelId="{64EDB036-8EE1-445B-AAF1-E71F00404BB2}" type="presParOf" srcId="{E2B0944B-E285-4403-9ECA-EB23DC5216F8}" destId="{2CA921EB-C273-4AF6-83AE-AC6667628DEB}" srcOrd="1" destOrd="0" presId="urn:microsoft.com/office/officeart/2005/8/layout/orgChart1"/>
    <dgm:cxn modelId="{CF618606-16C0-4C0D-A786-E437A3C29C24}" type="presParOf" srcId="{E2B0944B-E285-4403-9ECA-EB23DC5216F8}" destId="{B0543AC1-EF0E-41BF-8CDE-0E74649C7507}" srcOrd="2" destOrd="0" presId="urn:microsoft.com/office/officeart/2005/8/layout/orgChart1"/>
    <dgm:cxn modelId="{627FFD97-3FA1-43F8-BC7F-F1607E861100}" type="presParOf" srcId="{DFA3A91B-E297-4234-BFEC-E07215C4A4F0}" destId="{5BC729F7-A32A-4515-A574-DFBC30FDA19B}" srcOrd="2" destOrd="0" presId="urn:microsoft.com/office/officeart/2005/8/layout/orgChart1"/>
    <dgm:cxn modelId="{0D65AE45-C4B7-4B15-BA69-2C7CC2136C90}" type="presParOf" srcId="{B3767120-1D84-4CBF-A42A-7963C47D4D0B}" destId="{04B36B14-FDED-4614-BB74-97EE5BB8F52D}" srcOrd="4" destOrd="0" presId="urn:microsoft.com/office/officeart/2005/8/layout/orgChart1"/>
    <dgm:cxn modelId="{CA30B9E4-D00B-4F37-B12D-94B44B4E97D3}" type="presParOf" srcId="{B3767120-1D84-4CBF-A42A-7963C47D4D0B}" destId="{106AC147-102C-49EA-AA5F-EF5284021786}" srcOrd="5" destOrd="0" presId="urn:microsoft.com/office/officeart/2005/8/layout/orgChart1"/>
    <dgm:cxn modelId="{1841EDF5-A9BC-4156-BBE4-D5B7C3A9E5D1}" type="presParOf" srcId="{106AC147-102C-49EA-AA5F-EF5284021786}" destId="{A185BBF1-A3C4-4167-BD2D-01117B8865F1}" srcOrd="0" destOrd="0" presId="urn:microsoft.com/office/officeart/2005/8/layout/orgChart1"/>
    <dgm:cxn modelId="{15CA7C13-37A1-4A02-B047-FE4F965115DA}" type="presParOf" srcId="{A185BBF1-A3C4-4167-BD2D-01117B8865F1}" destId="{6F5EABE9-ADCF-4968-81B3-04689CB922B9}" srcOrd="0" destOrd="0" presId="urn:microsoft.com/office/officeart/2005/8/layout/orgChart1"/>
    <dgm:cxn modelId="{6B530852-021B-4889-8B9B-2E8178BE5165}" type="presParOf" srcId="{A185BBF1-A3C4-4167-BD2D-01117B8865F1}" destId="{492EE907-4099-4D6E-8EF8-4A500681DBF1}" srcOrd="1" destOrd="0" presId="urn:microsoft.com/office/officeart/2005/8/layout/orgChart1"/>
    <dgm:cxn modelId="{0AF75155-0D03-4947-9D9E-71EA8C70E77B}" type="presParOf" srcId="{106AC147-102C-49EA-AA5F-EF5284021786}" destId="{604BD7F7-0389-4ECB-B419-E102FB55CEAC}" srcOrd="1" destOrd="0" presId="urn:microsoft.com/office/officeart/2005/8/layout/orgChart1"/>
    <dgm:cxn modelId="{1CE9BCEC-2F0B-4ECB-9216-31FD099FB7FC}" type="presParOf" srcId="{604BD7F7-0389-4ECB-B419-E102FB55CEAC}" destId="{EA7938CB-A733-44C1-A071-6CDE35869C6C}" srcOrd="0" destOrd="0" presId="urn:microsoft.com/office/officeart/2005/8/layout/orgChart1"/>
    <dgm:cxn modelId="{B49AAC6E-8316-4F5C-9058-8D7CC2C422DB}" type="presParOf" srcId="{604BD7F7-0389-4ECB-B419-E102FB55CEAC}" destId="{C9F3BD78-2D0F-4066-8C62-A4BEFC28C0D0}" srcOrd="1" destOrd="0" presId="urn:microsoft.com/office/officeart/2005/8/layout/orgChart1"/>
    <dgm:cxn modelId="{E23D895B-8BA8-46AD-841B-539928D2CD3B}" type="presParOf" srcId="{C9F3BD78-2D0F-4066-8C62-A4BEFC28C0D0}" destId="{2F419F38-8B4E-4E64-A62C-E8BE420A6A18}" srcOrd="0" destOrd="0" presId="urn:microsoft.com/office/officeart/2005/8/layout/orgChart1"/>
    <dgm:cxn modelId="{6CE81EBC-2813-4444-9F7B-038A161505FD}" type="presParOf" srcId="{2F419F38-8B4E-4E64-A62C-E8BE420A6A18}" destId="{77B0771F-7A97-4F55-B5C4-7CE3A24EA5FB}" srcOrd="0" destOrd="0" presId="urn:microsoft.com/office/officeart/2005/8/layout/orgChart1"/>
    <dgm:cxn modelId="{7697227B-4218-4C86-B3E3-50853E7A11C2}" type="presParOf" srcId="{2F419F38-8B4E-4E64-A62C-E8BE420A6A18}" destId="{3F7C118D-3B24-43E5-AF62-CC83C5D3392C}" srcOrd="1" destOrd="0" presId="urn:microsoft.com/office/officeart/2005/8/layout/orgChart1"/>
    <dgm:cxn modelId="{3A9C3661-1347-4A93-956B-8FB365667742}" type="presParOf" srcId="{C9F3BD78-2D0F-4066-8C62-A4BEFC28C0D0}" destId="{6C7F5E37-52AC-45D6-9664-BC3749591BBC}" srcOrd="1" destOrd="0" presId="urn:microsoft.com/office/officeart/2005/8/layout/orgChart1"/>
    <dgm:cxn modelId="{0DF762D3-1899-42F1-85FB-34E8AA54BEFE}" type="presParOf" srcId="{C9F3BD78-2D0F-4066-8C62-A4BEFC28C0D0}" destId="{FEFB6E19-5B2F-4FA2-B32C-4A76C28145E3}" srcOrd="2" destOrd="0" presId="urn:microsoft.com/office/officeart/2005/8/layout/orgChart1"/>
    <dgm:cxn modelId="{2FFE8FED-D4BF-4DF7-97D7-5D5121FA1D04}" type="presParOf" srcId="{604BD7F7-0389-4ECB-B419-E102FB55CEAC}" destId="{900AFB7F-2B1C-4F2F-90FD-534B3C5D185A}" srcOrd="2" destOrd="0" presId="urn:microsoft.com/office/officeart/2005/8/layout/orgChart1"/>
    <dgm:cxn modelId="{D9B3FA0F-0E12-4F52-8B52-EBEB9205228F}" type="presParOf" srcId="{604BD7F7-0389-4ECB-B419-E102FB55CEAC}" destId="{D2CE9645-9167-4CA8-9FAC-E5772265F1F1}" srcOrd="3" destOrd="0" presId="urn:microsoft.com/office/officeart/2005/8/layout/orgChart1"/>
    <dgm:cxn modelId="{1D5A2929-56DB-493E-A182-7628BE2A7BE2}" type="presParOf" srcId="{D2CE9645-9167-4CA8-9FAC-E5772265F1F1}" destId="{C62351E5-F559-42B9-866D-4EA52F6E0AC4}" srcOrd="0" destOrd="0" presId="urn:microsoft.com/office/officeart/2005/8/layout/orgChart1"/>
    <dgm:cxn modelId="{AD553E32-CAF8-4D7C-9787-5BE069F4F954}" type="presParOf" srcId="{C62351E5-F559-42B9-866D-4EA52F6E0AC4}" destId="{7F2C8B3F-CC73-4AF4-B493-142FDFBE4550}" srcOrd="0" destOrd="0" presId="urn:microsoft.com/office/officeart/2005/8/layout/orgChart1"/>
    <dgm:cxn modelId="{E4D048EC-216B-40E5-ACF3-9DF812928117}" type="presParOf" srcId="{C62351E5-F559-42B9-866D-4EA52F6E0AC4}" destId="{91F4DFD6-08F3-4398-8E0A-317B7ABFFAC4}" srcOrd="1" destOrd="0" presId="urn:microsoft.com/office/officeart/2005/8/layout/orgChart1"/>
    <dgm:cxn modelId="{ED2A265B-53E8-470A-B6DE-A42E0BE1CE03}" type="presParOf" srcId="{D2CE9645-9167-4CA8-9FAC-E5772265F1F1}" destId="{5A4AA5E7-9412-4F52-B3B0-D34C8376690E}" srcOrd="1" destOrd="0" presId="urn:microsoft.com/office/officeart/2005/8/layout/orgChart1"/>
    <dgm:cxn modelId="{1F2A6010-2D42-4D8C-91E2-3D632B4E83E9}" type="presParOf" srcId="{D2CE9645-9167-4CA8-9FAC-E5772265F1F1}" destId="{56D83448-7242-4F44-A164-1F2F2EA1B593}" srcOrd="2" destOrd="0" presId="urn:microsoft.com/office/officeart/2005/8/layout/orgChart1"/>
    <dgm:cxn modelId="{4887EF07-2210-46C0-8053-F3F7C338CB69}" type="presParOf" srcId="{604BD7F7-0389-4ECB-B419-E102FB55CEAC}" destId="{780BE9DB-483E-4D39-959E-0895D44A0731}" srcOrd="4" destOrd="0" presId="urn:microsoft.com/office/officeart/2005/8/layout/orgChart1"/>
    <dgm:cxn modelId="{B1F22E8A-4471-4E8E-8667-5F8F80DC6B05}" type="presParOf" srcId="{604BD7F7-0389-4ECB-B419-E102FB55CEAC}" destId="{460E50AD-5371-4F35-81B3-87C773ED6693}" srcOrd="5" destOrd="0" presId="urn:microsoft.com/office/officeart/2005/8/layout/orgChart1"/>
    <dgm:cxn modelId="{29E613A6-86C2-4D1C-9014-CF39AE73A205}" type="presParOf" srcId="{460E50AD-5371-4F35-81B3-87C773ED6693}" destId="{D9F28B0D-1A61-48BA-B550-A33256A06117}" srcOrd="0" destOrd="0" presId="urn:microsoft.com/office/officeart/2005/8/layout/orgChart1"/>
    <dgm:cxn modelId="{F578EE14-7111-4C34-9E79-30F4D3A365A1}" type="presParOf" srcId="{D9F28B0D-1A61-48BA-B550-A33256A06117}" destId="{A3E4031B-8BAB-4B77-A326-269F825A8EE1}" srcOrd="0" destOrd="0" presId="urn:microsoft.com/office/officeart/2005/8/layout/orgChart1"/>
    <dgm:cxn modelId="{87E34D96-39F2-4282-BCF6-B6916FDB2492}" type="presParOf" srcId="{D9F28B0D-1A61-48BA-B550-A33256A06117}" destId="{B9C07A85-7AF3-4DDB-BED5-54AAA28C4482}" srcOrd="1" destOrd="0" presId="urn:microsoft.com/office/officeart/2005/8/layout/orgChart1"/>
    <dgm:cxn modelId="{FBDEF4A0-11C1-4101-A02C-5E61E521F913}" type="presParOf" srcId="{460E50AD-5371-4F35-81B3-87C773ED6693}" destId="{07BC0911-8342-4145-9032-C569E224ADCB}" srcOrd="1" destOrd="0" presId="urn:microsoft.com/office/officeart/2005/8/layout/orgChart1"/>
    <dgm:cxn modelId="{3DA5168B-4436-4297-8D64-97F5B377135D}" type="presParOf" srcId="{460E50AD-5371-4F35-81B3-87C773ED6693}" destId="{0667F164-DD16-4F5D-93FD-59C74A5582C8}" srcOrd="2" destOrd="0" presId="urn:microsoft.com/office/officeart/2005/8/layout/orgChart1"/>
    <dgm:cxn modelId="{D62A0E3F-A339-4010-9649-172F3860F460}" type="presParOf" srcId="{604BD7F7-0389-4ECB-B419-E102FB55CEAC}" destId="{1679F611-1768-4DF1-92D2-2ABA33F52954}" srcOrd="6" destOrd="0" presId="urn:microsoft.com/office/officeart/2005/8/layout/orgChart1"/>
    <dgm:cxn modelId="{35B7CCD4-5D27-4935-A08F-8860CFB99567}" type="presParOf" srcId="{604BD7F7-0389-4ECB-B419-E102FB55CEAC}" destId="{3EB3B2BF-83E3-43EC-8B4A-22E5A8006260}" srcOrd="7" destOrd="0" presId="urn:microsoft.com/office/officeart/2005/8/layout/orgChart1"/>
    <dgm:cxn modelId="{837110D9-36F7-4D38-9601-D431620FFF4D}" type="presParOf" srcId="{3EB3B2BF-83E3-43EC-8B4A-22E5A8006260}" destId="{AF597625-1C9B-4EFB-89C7-964B32D14CF1}" srcOrd="0" destOrd="0" presId="urn:microsoft.com/office/officeart/2005/8/layout/orgChart1"/>
    <dgm:cxn modelId="{0F7A915B-11CE-4B03-8B21-CFE7B95782D0}" type="presParOf" srcId="{AF597625-1C9B-4EFB-89C7-964B32D14CF1}" destId="{BC6D9694-E2FB-466A-9121-F6DA2CA4E423}" srcOrd="0" destOrd="0" presId="urn:microsoft.com/office/officeart/2005/8/layout/orgChart1"/>
    <dgm:cxn modelId="{33C068A8-C7C7-4E33-B3CF-9EF7B807E00A}" type="presParOf" srcId="{AF597625-1C9B-4EFB-89C7-964B32D14CF1}" destId="{ED85CF53-B366-40FC-A1B2-AC0A7E230913}" srcOrd="1" destOrd="0" presId="urn:microsoft.com/office/officeart/2005/8/layout/orgChart1"/>
    <dgm:cxn modelId="{4F9D07B2-43F9-4FF8-9F60-6CEC901EE7F9}" type="presParOf" srcId="{3EB3B2BF-83E3-43EC-8B4A-22E5A8006260}" destId="{516CA77B-2490-4C12-BE3E-3D3BE5F54CF1}" srcOrd="1" destOrd="0" presId="urn:microsoft.com/office/officeart/2005/8/layout/orgChart1"/>
    <dgm:cxn modelId="{981D938A-21AB-4C23-A1CF-DD2AE8192C00}" type="presParOf" srcId="{3EB3B2BF-83E3-43EC-8B4A-22E5A8006260}" destId="{0992B6CE-88A6-4CA3-BBCB-69055B955878}" srcOrd="2" destOrd="0" presId="urn:microsoft.com/office/officeart/2005/8/layout/orgChart1"/>
    <dgm:cxn modelId="{0CB34F79-0933-4DD3-AAB8-52CA301A0746}" type="presParOf" srcId="{604BD7F7-0389-4ECB-B419-E102FB55CEAC}" destId="{9546EDD2-AE2D-4CCC-A153-7110360B9BEC}" srcOrd="8" destOrd="0" presId="urn:microsoft.com/office/officeart/2005/8/layout/orgChart1"/>
    <dgm:cxn modelId="{478E7345-7FF7-4978-A07A-678AB3F583DD}" type="presParOf" srcId="{604BD7F7-0389-4ECB-B419-E102FB55CEAC}" destId="{9FE3402F-57AD-46ED-9414-75CC69E8BB3C}" srcOrd="9" destOrd="0" presId="urn:microsoft.com/office/officeart/2005/8/layout/orgChart1"/>
    <dgm:cxn modelId="{1B90C90A-FEC3-41FF-ADF6-FA9FECE6558F}" type="presParOf" srcId="{9FE3402F-57AD-46ED-9414-75CC69E8BB3C}" destId="{8C2A3C82-3AAD-41A6-82CB-8B35916F6F8D}" srcOrd="0" destOrd="0" presId="urn:microsoft.com/office/officeart/2005/8/layout/orgChart1"/>
    <dgm:cxn modelId="{F0C81B19-5FB7-4F79-B69E-2512A2D7EA7F}" type="presParOf" srcId="{8C2A3C82-3AAD-41A6-82CB-8B35916F6F8D}" destId="{34C6C65D-2FB2-4BC6-85E7-4981197D899A}" srcOrd="0" destOrd="0" presId="urn:microsoft.com/office/officeart/2005/8/layout/orgChart1"/>
    <dgm:cxn modelId="{9516289D-FF8E-49EC-8465-F4AC5288A0C7}" type="presParOf" srcId="{8C2A3C82-3AAD-41A6-82CB-8B35916F6F8D}" destId="{D9F8732B-C34D-4E46-89C0-591665126EF3}" srcOrd="1" destOrd="0" presId="urn:microsoft.com/office/officeart/2005/8/layout/orgChart1"/>
    <dgm:cxn modelId="{F2C6D23C-FEB3-46BA-88C6-9A1963184CAB}" type="presParOf" srcId="{9FE3402F-57AD-46ED-9414-75CC69E8BB3C}" destId="{1E256350-75A4-4879-934C-E6C51E7ACD72}" srcOrd="1" destOrd="0" presId="urn:microsoft.com/office/officeart/2005/8/layout/orgChart1"/>
    <dgm:cxn modelId="{A649B25B-BC33-4A19-816B-91323CF42565}" type="presParOf" srcId="{9FE3402F-57AD-46ED-9414-75CC69E8BB3C}" destId="{23AD8370-2A2A-4C04-815A-4FA7C374EABB}" srcOrd="2" destOrd="0" presId="urn:microsoft.com/office/officeart/2005/8/layout/orgChart1"/>
    <dgm:cxn modelId="{87E2C4DD-593C-49F2-9EA0-6E94CE812238}" type="presParOf" srcId="{604BD7F7-0389-4ECB-B419-E102FB55CEAC}" destId="{9F09995D-9ADF-410B-B9C8-980791CB2CCA}" srcOrd="10" destOrd="0" presId="urn:microsoft.com/office/officeart/2005/8/layout/orgChart1"/>
    <dgm:cxn modelId="{5BF666C6-E820-4364-B9FE-05A84BCE4B26}" type="presParOf" srcId="{604BD7F7-0389-4ECB-B419-E102FB55CEAC}" destId="{729C1684-45D7-415C-807D-87B4138A02A2}" srcOrd="11" destOrd="0" presId="urn:microsoft.com/office/officeart/2005/8/layout/orgChart1"/>
    <dgm:cxn modelId="{AA9B5557-6DBB-4DE4-8D02-6E29E4132C61}" type="presParOf" srcId="{729C1684-45D7-415C-807D-87B4138A02A2}" destId="{B6553E9A-67F4-47BD-B1CA-34EA958D6C88}" srcOrd="0" destOrd="0" presId="urn:microsoft.com/office/officeart/2005/8/layout/orgChart1"/>
    <dgm:cxn modelId="{900FB263-EC5E-4007-B1DF-0C6A13E9AA13}" type="presParOf" srcId="{B6553E9A-67F4-47BD-B1CA-34EA958D6C88}" destId="{9B3E7BAB-573F-4360-9513-1138FF22520D}" srcOrd="0" destOrd="0" presId="urn:microsoft.com/office/officeart/2005/8/layout/orgChart1"/>
    <dgm:cxn modelId="{3FD2E049-DCFF-4C4D-9EC6-443D6B00D8FF}" type="presParOf" srcId="{B6553E9A-67F4-47BD-B1CA-34EA958D6C88}" destId="{3A7E4F99-5702-44D9-A6EF-995F4A043CF2}" srcOrd="1" destOrd="0" presId="urn:microsoft.com/office/officeart/2005/8/layout/orgChart1"/>
    <dgm:cxn modelId="{C9F9B1B8-B253-4461-A258-2499ED864D8E}" type="presParOf" srcId="{729C1684-45D7-415C-807D-87B4138A02A2}" destId="{2A79C507-D6EF-446C-AE25-810C09200218}" srcOrd="1" destOrd="0" presId="urn:microsoft.com/office/officeart/2005/8/layout/orgChart1"/>
    <dgm:cxn modelId="{85075CE7-8101-4C6B-AB59-10CF6CAF5421}" type="presParOf" srcId="{729C1684-45D7-415C-807D-87B4138A02A2}" destId="{F38401C1-EF18-4082-BEE1-17349386AA67}" srcOrd="2" destOrd="0" presId="urn:microsoft.com/office/officeart/2005/8/layout/orgChart1"/>
    <dgm:cxn modelId="{9711342F-626B-4EA8-96F2-69D07A619F03}" type="presParOf" srcId="{106AC147-102C-49EA-AA5F-EF5284021786}" destId="{DC47B5BE-0D25-4337-B97F-303E26D4FF58}" srcOrd="2" destOrd="0" presId="urn:microsoft.com/office/officeart/2005/8/layout/orgChart1"/>
    <dgm:cxn modelId="{0D097242-B9E2-42C8-B325-E1403B71E778}" type="presParOf" srcId="{B3767120-1D84-4CBF-A42A-7963C47D4D0B}" destId="{C52852C6-20B4-46A2-B6DA-5FE9764A5987}" srcOrd="6" destOrd="0" presId="urn:microsoft.com/office/officeart/2005/8/layout/orgChart1"/>
    <dgm:cxn modelId="{3175E67C-FAC1-4AD3-9417-4BF71F4D3ED4}" type="presParOf" srcId="{B3767120-1D84-4CBF-A42A-7963C47D4D0B}" destId="{B608C61A-120B-4251-B9EB-E7EDC8273B6F}" srcOrd="7" destOrd="0" presId="urn:microsoft.com/office/officeart/2005/8/layout/orgChart1"/>
    <dgm:cxn modelId="{F4A71831-E03C-4406-83C7-F11D66E4DC7C}" type="presParOf" srcId="{B608C61A-120B-4251-B9EB-E7EDC8273B6F}" destId="{6DEDE116-3EA2-4404-BA72-3E63AF293AAD}" srcOrd="0" destOrd="0" presId="urn:microsoft.com/office/officeart/2005/8/layout/orgChart1"/>
    <dgm:cxn modelId="{31904E82-2064-41CB-8491-0C504FFF8F0F}" type="presParOf" srcId="{6DEDE116-3EA2-4404-BA72-3E63AF293AAD}" destId="{93A91F1D-7D22-4985-85A0-25585DC5988D}" srcOrd="0" destOrd="0" presId="urn:microsoft.com/office/officeart/2005/8/layout/orgChart1"/>
    <dgm:cxn modelId="{135D8D56-71AF-4948-9610-3534EF340247}" type="presParOf" srcId="{6DEDE116-3EA2-4404-BA72-3E63AF293AAD}" destId="{C6591505-D2DB-4716-ADD2-239A1C546601}" srcOrd="1" destOrd="0" presId="urn:microsoft.com/office/officeart/2005/8/layout/orgChart1"/>
    <dgm:cxn modelId="{B2313819-4ADD-4477-9689-2C20B3A79562}" type="presParOf" srcId="{B608C61A-120B-4251-B9EB-E7EDC8273B6F}" destId="{938C0902-ABBE-4EAB-8859-4C995FBF347B}" srcOrd="1" destOrd="0" presId="urn:microsoft.com/office/officeart/2005/8/layout/orgChart1"/>
    <dgm:cxn modelId="{7C12CC31-A7C3-4E30-9E29-51B70F6C4E24}" type="presParOf" srcId="{938C0902-ABBE-4EAB-8859-4C995FBF347B}" destId="{624BD74D-0A26-4504-89C2-C0CE0AB010B7}" srcOrd="0" destOrd="0" presId="urn:microsoft.com/office/officeart/2005/8/layout/orgChart1"/>
    <dgm:cxn modelId="{4EF3E5A6-CBF1-4F90-92EF-C8523FB47634}" type="presParOf" srcId="{938C0902-ABBE-4EAB-8859-4C995FBF347B}" destId="{50712217-9B09-4EE8-97B8-7FFA82E90CAF}" srcOrd="1" destOrd="0" presId="urn:microsoft.com/office/officeart/2005/8/layout/orgChart1"/>
    <dgm:cxn modelId="{9928B04C-39C5-42A7-8F02-B9D03D563361}" type="presParOf" srcId="{50712217-9B09-4EE8-97B8-7FFA82E90CAF}" destId="{2584DB84-6D5D-4941-9889-C877F4F137C8}" srcOrd="0" destOrd="0" presId="urn:microsoft.com/office/officeart/2005/8/layout/orgChart1"/>
    <dgm:cxn modelId="{B269CB59-2642-4583-9EE0-D15977C7E32B}" type="presParOf" srcId="{2584DB84-6D5D-4941-9889-C877F4F137C8}" destId="{BD124048-E30E-4AF4-8927-D2BF6DF4E839}" srcOrd="0" destOrd="0" presId="urn:microsoft.com/office/officeart/2005/8/layout/orgChart1"/>
    <dgm:cxn modelId="{FD89E468-332D-4BE7-887C-8B1635F88AC3}" type="presParOf" srcId="{2584DB84-6D5D-4941-9889-C877F4F137C8}" destId="{266370AC-8E10-4BE9-8937-5CACF751948A}" srcOrd="1" destOrd="0" presId="urn:microsoft.com/office/officeart/2005/8/layout/orgChart1"/>
    <dgm:cxn modelId="{CA90100E-E712-4F74-AB9A-8C7AEB408BEE}" type="presParOf" srcId="{50712217-9B09-4EE8-97B8-7FFA82E90CAF}" destId="{0A7035F7-D8A1-4D40-96C5-ED61913FA500}" srcOrd="1" destOrd="0" presId="urn:microsoft.com/office/officeart/2005/8/layout/orgChart1"/>
    <dgm:cxn modelId="{ABBAA67E-E0DE-4F04-8310-FD5156DADC61}" type="presParOf" srcId="{50712217-9B09-4EE8-97B8-7FFA82E90CAF}" destId="{E25535BC-DEEC-4619-8D55-743647BB00EC}" srcOrd="2" destOrd="0" presId="urn:microsoft.com/office/officeart/2005/8/layout/orgChart1"/>
    <dgm:cxn modelId="{15B23894-2E19-499E-A324-2D8809CD7F70}" type="presParOf" srcId="{938C0902-ABBE-4EAB-8859-4C995FBF347B}" destId="{E4B24ED9-AEA6-4719-9AAC-19425E50102E}" srcOrd="2" destOrd="0" presId="urn:microsoft.com/office/officeart/2005/8/layout/orgChart1"/>
    <dgm:cxn modelId="{33B3891F-869F-4988-8669-5DCCC3DDAC76}" type="presParOf" srcId="{938C0902-ABBE-4EAB-8859-4C995FBF347B}" destId="{F3B32609-A687-45C6-A410-EBD5DD62AE65}" srcOrd="3" destOrd="0" presId="urn:microsoft.com/office/officeart/2005/8/layout/orgChart1"/>
    <dgm:cxn modelId="{C0AF2AC4-8A08-49B4-BAFD-A539C48BD264}" type="presParOf" srcId="{F3B32609-A687-45C6-A410-EBD5DD62AE65}" destId="{3A92B88B-6963-4975-BD04-61542137B14A}" srcOrd="0" destOrd="0" presId="urn:microsoft.com/office/officeart/2005/8/layout/orgChart1"/>
    <dgm:cxn modelId="{A7B760B9-4C3E-4994-A706-8E1C3D56C980}" type="presParOf" srcId="{3A92B88B-6963-4975-BD04-61542137B14A}" destId="{24BC7984-6149-4663-938B-04A9C51DF1FB}" srcOrd="0" destOrd="0" presId="urn:microsoft.com/office/officeart/2005/8/layout/orgChart1"/>
    <dgm:cxn modelId="{78348CCA-E458-495C-BA4A-1F80945EB5D9}" type="presParOf" srcId="{3A92B88B-6963-4975-BD04-61542137B14A}" destId="{2C260D77-769B-4ABC-98F4-4E6E3CB1EF90}" srcOrd="1" destOrd="0" presId="urn:microsoft.com/office/officeart/2005/8/layout/orgChart1"/>
    <dgm:cxn modelId="{12A6B81E-E1E1-40AA-B5C2-CC644C237C22}" type="presParOf" srcId="{F3B32609-A687-45C6-A410-EBD5DD62AE65}" destId="{8AC5A5D0-225B-45A7-B460-89BB69579712}" srcOrd="1" destOrd="0" presId="urn:microsoft.com/office/officeart/2005/8/layout/orgChart1"/>
    <dgm:cxn modelId="{F85D038E-E4FE-4980-B563-5022C1AFC7B6}" type="presParOf" srcId="{F3B32609-A687-45C6-A410-EBD5DD62AE65}" destId="{A77269D1-D7AC-4886-9B9C-6921666DD936}" srcOrd="2" destOrd="0" presId="urn:microsoft.com/office/officeart/2005/8/layout/orgChart1"/>
    <dgm:cxn modelId="{1C8F2CB1-E02C-46BC-A08C-224515EB398A}" type="presParOf" srcId="{938C0902-ABBE-4EAB-8859-4C995FBF347B}" destId="{C0D3BB45-9D19-4703-88C2-66BEE4E2B973}" srcOrd="4" destOrd="0" presId="urn:microsoft.com/office/officeart/2005/8/layout/orgChart1"/>
    <dgm:cxn modelId="{0DDB1C23-713C-4DF0-9712-D4D7A0E9C810}" type="presParOf" srcId="{938C0902-ABBE-4EAB-8859-4C995FBF347B}" destId="{00ACDC46-0062-4993-8D79-BFE8DBC0B4FF}" srcOrd="5" destOrd="0" presId="urn:microsoft.com/office/officeart/2005/8/layout/orgChart1"/>
    <dgm:cxn modelId="{3E6C162F-F6B1-4BDC-A2C3-0553F07DAB76}" type="presParOf" srcId="{00ACDC46-0062-4993-8D79-BFE8DBC0B4FF}" destId="{0AEF970B-6922-4981-A39C-AE271B214187}" srcOrd="0" destOrd="0" presId="urn:microsoft.com/office/officeart/2005/8/layout/orgChart1"/>
    <dgm:cxn modelId="{ED6560CB-7FA9-41BC-9838-FDB925632585}" type="presParOf" srcId="{0AEF970B-6922-4981-A39C-AE271B214187}" destId="{59C16821-136A-42CE-A32E-53F10B407A80}" srcOrd="0" destOrd="0" presId="urn:microsoft.com/office/officeart/2005/8/layout/orgChart1"/>
    <dgm:cxn modelId="{AB6CF8AD-7889-4E02-9B59-8A1B5071B195}" type="presParOf" srcId="{0AEF970B-6922-4981-A39C-AE271B214187}" destId="{ECF123A4-F45E-45C6-B1D6-1E39217B7B2C}" srcOrd="1" destOrd="0" presId="urn:microsoft.com/office/officeart/2005/8/layout/orgChart1"/>
    <dgm:cxn modelId="{09132ED8-71EE-41DB-99C5-C08544F469B9}" type="presParOf" srcId="{00ACDC46-0062-4993-8D79-BFE8DBC0B4FF}" destId="{6DD4D02D-D95C-4310-8003-891DC4F32932}" srcOrd="1" destOrd="0" presId="urn:microsoft.com/office/officeart/2005/8/layout/orgChart1"/>
    <dgm:cxn modelId="{4B9A57F3-72B2-4E9B-A96A-D76276298CF9}" type="presParOf" srcId="{00ACDC46-0062-4993-8D79-BFE8DBC0B4FF}" destId="{5543DF53-49F4-4BCA-95A1-083550ED700E}" srcOrd="2" destOrd="0" presId="urn:microsoft.com/office/officeart/2005/8/layout/orgChart1"/>
    <dgm:cxn modelId="{1AE39BC8-64C4-48ED-B1D6-ADE7E4D918B7}" type="presParOf" srcId="{938C0902-ABBE-4EAB-8859-4C995FBF347B}" destId="{2180CF6A-AD39-4810-94ED-3BA4F0BB8147}" srcOrd="6" destOrd="0" presId="urn:microsoft.com/office/officeart/2005/8/layout/orgChart1"/>
    <dgm:cxn modelId="{C33F2AEA-D6A2-495E-960B-B1B421E6D262}" type="presParOf" srcId="{938C0902-ABBE-4EAB-8859-4C995FBF347B}" destId="{BE262D98-1443-40EC-B1E2-248A4A512673}" srcOrd="7" destOrd="0" presId="urn:microsoft.com/office/officeart/2005/8/layout/orgChart1"/>
    <dgm:cxn modelId="{CD049895-1C3D-42F3-94D8-2CA21AD4FADE}" type="presParOf" srcId="{BE262D98-1443-40EC-B1E2-248A4A512673}" destId="{469E3A06-CC11-40B1-B3C7-72ACC7F56BB2}" srcOrd="0" destOrd="0" presId="urn:microsoft.com/office/officeart/2005/8/layout/orgChart1"/>
    <dgm:cxn modelId="{4079E44B-5643-4BB1-838A-469DF07967A4}" type="presParOf" srcId="{469E3A06-CC11-40B1-B3C7-72ACC7F56BB2}" destId="{29BFB6C1-D823-46CA-84D1-1520903300FC}" srcOrd="0" destOrd="0" presId="urn:microsoft.com/office/officeart/2005/8/layout/orgChart1"/>
    <dgm:cxn modelId="{5C6BF7D1-1F47-43D2-BAF5-6D47D8CDF016}" type="presParOf" srcId="{469E3A06-CC11-40B1-B3C7-72ACC7F56BB2}" destId="{7F82E3ED-1AB7-46C3-AFE6-1D1C8EDF0CA5}" srcOrd="1" destOrd="0" presId="urn:microsoft.com/office/officeart/2005/8/layout/orgChart1"/>
    <dgm:cxn modelId="{8B3B8594-0FD3-48AC-BC04-B2EBBD65B5F1}" type="presParOf" srcId="{BE262D98-1443-40EC-B1E2-248A4A512673}" destId="{AE348AF0-6158-4AEF-88FB-08E520EFE8E0}" srcOrd="1" destOrd="0" presId="urn:microsoft.com/office/officeart/2005/8/layout/orgChart1"/>
    <dgm:cxn modelId="{3774BBB4-71BF-42EA-A833-8558BC8841BB}" type="presParOf" srcId="{BE262D98-1443-40EC-B1E2-248A4A512673}" destId="{1ECE731C-F505-41BC-AB5D-174509F0191B}" srcOrd="2" destOrd="0" presId="urn:microsoft.com/office/officeart/2005/8/layout/orgChart1"/>
    <dgm:cxn modelId="{19348749-9CA7-4F8F-A341-3ACC6526415D}" type="presParOf" srcId="{938C0902-ABBE-4EAB-8859-4C995FBF347B}" destId="{59B232EF-2D1D-49CB-9869-94894A759754}" srcOrd="8" destOrd="0" presId="urn:microsoft.com/office/officeart/2005/8/layout/orgChart1"/>
    <dgm:cxn modelId="{01C7F688-7588-44CC-A0D0-391D91310500}" type="presParOf" srcId="{938C0902-ABBE-4EAB-8859-4C995FBF347B}" destId="{3C0E049D-849A-4267-9D46-240008F38999}" srcOrd="9" destOrd="0" presId="urn:microsoft.com/office/officeart/2005/8/layout/orgChart1"/>
    <dgm:cxn modelId="{85DB62EC-A095-40ED-A38C-79D51BAA4D39}" type="presParOf" srcId="{3C0E049D-849A-4267-9D46-240008F38999}" destId="{6691932E-CF57-4CC4-B264-D170AB37EEE3}" srcOrd="0" destOrd="0" presId="urn:microsoft.com/office/officeart/2005/8/layout/orgChart1"/>
    <dgm:cxn modelId="{69A82E4B-52CB-46AA-AFA3-6178D63CF262}" type="presParOf" srcId="{6691932E-CF57-4CC4-B264-D170AB37EEE3}" destId="{51F33CE0-C792-43E6-9B95-4AA844009EE5}" srcOrd="0" destOrd="0" presId="urn:microsoft.com/office/officeart/2005/8/layout/orgChart1"/>
    <dgm:cxn modelId="{F625B4CB-CDDE-45FC-BB55-1365BC31AE9C}" type="presParOf" srcId="{6691932E-CF57-4CC4-B264-D170AB37EEE3}" destId="{E727AD94-075F-49A2-8531-01CD1C7D6333}" srcOrd="1" destOrd="0" presId="urn:microsoft.com/office/officeart/2005/8/layout/orgChart1"/>
    <dgm:cxn modelId="{F5C17157-F5A3-4539-85BC-A345A6B0FC82}" type="presParOf" srcId="{3C0E049D-849A-4267-9D46-240008F38999}" destId="{2553921A-A42D-4097-BE44-602F98390533}" srcOrd="1" destOrd="0" presId="urn:microsoft.com/office/officeart/2005/8/layout/orgChart1"/>
    <dgm:cxn modelId="{8CA04162-BFD9-402B-A271-C36E42E482BA}" type="presParOf" srcId="{3C0E049D-849A-4267-9D46-240008F38999}" destId="{6CA001DC-A2C5-4CD8-B74C-FC7BF906F393}" srcOrd="2" destOrd="0" presId="urn:microsoft.com/office/officeart/2005/8/layout/orgChart1"/>
    <dgm:cxn modelId="{574BD70E-0968-4A0A-92D3-67085F07F4C9}" type="presParOf" srcId="{938C0902-ABBE-4EAB-8859-4C995FBF347B}" destId="{99AC2CD4-F44A-4EEF-B4A6-6FADC26E591F}" srcOrd="10" destOrd="0" presId="urn:microsoft.com/office/officeart/2005/8/layout/orgChart1"/>
    <dgm:cxn modelId="{9E133AB5-8CF3-42FC-AC1B-D0D77421F89B}" type="presParOf" srcId="{938C0902-ABBE-4EAB-8859-4C995FBF347B}" destId="{AB91E17C-4A58-41F1-9A77-0678B3916AA9}" srcOrd="11" destOrd="0" presId="urn:microsoft.com/office/officeart/2005/8/layout/orgChart1"/>
    <dgm:cxn modelId="{7C029EA5-239A-4659-8552-FB6A7C083745}" type="presParOf" srcId="{AB91E17C-4A58-41F1-9A77-0678B3916AA9}" destId="{9DFAC541-F92A-46F9-A763-E00334E8F15C}" srcOrd="0" destOrd="0" presId="urn:microsoft.com/office/officeart/2005/8/layout/orgChart1"/>
    <dgm:cxn modelId="{FA9B5CC3-7A11-4E00-A0E9-6E0ADE9ED5F1}" type="presParOf" srcId="{9DFAC541-F92A-46F9-A763-E00334E8F15C}" destId="{433408A7-7634-4E8E-BAFE-7CB90EE04D80}" srcOrd="0" destOrd="0" presId="urn:microsoft.com/office/officeart/2005/8/layout/orgChart1"/>
    <dgm:cxn modelId="{4B423B63-7722-4E2C-863A-BFFEA2EC4A21}" type="presParOf" srcId="{9DFAC541-F92A-46F9-A763-E00334E8F15C}" destId="{A3D2F00E-DC6E-4BD2-B5CB-B130A82EAB73}" srcOrd="1" destOrd="0" presId="urn:microsoft.com/office/officeart/2005/8/layout/orgChart1"/>
    <dgm:cxn modelId="{79BDC8F9-4E87-435B-80B6-CF2B87FAA6C9}" type="presParOf" srcId="{AB91E17C-4A58-41F1-9A77-0678B3916AA9}" destId="{452C5EBE-613C-4962-8476-8ED70E5D346D}" srcOrd="1" destOrd="0" presId="urn:microsoft.com/office/officeart/2005/8/layout/orgChart1"/>
    <dgm:cxn modelId="{8C097AEC-A7E7-4B90-B465-EB9684DEA1BC}" type="presParOf" srcId="{AB91E17C-4A58-41F1-9A77-0678B3916AA9}" destId="{8C784859-FFB0-4AA0-8042-0CCE7112680F}" srcOrd="2" destOrd="0" presId="urn:microsoft.com/office/officeart/2005/8/layout/orgChart1"/>
    <dgm:cxn modelId="{3AB6226A-41A1-4C86-93E3-D838D1D6730C}" type="presParOf" srcId="{B608C61A-120B-4251-B9EB-E7EDC8273B6F}" destId="{2FE1CF98-76D1-4570-9A8A-D319916AAC7F}" srcOrd="2" destOrd="0" presId="urn:microsoft.com/office/officeart/2005/8/layout/orgChart1"/>
    <dgm:cxn modelId="{63999A6F-E262-456E-AF6A-830B280B74A9}" type="presParOf" srcId="{ADF78B51-FF65-46D3-95B4-403BD752DD8A}" destId="{A01BFD0A-DF36-4B6D-9BA0-3A05A52ED7B1}" srcOrd="2" destOrd="0" presId="urn:microsoft.com/office/officeart/2005/8/layout/orgChart1"/>
  </dgm:cxnLst>
  <dgm:bg>
    <a:solidFill>
      <a:schemeClr val="bg1"/>
    </a:solidFill>
    <a:effectLst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EB5C877-C77B-47BD-825A-482B3EB5DF5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030A46-7792-4815-B57B-046A07F0140A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VP Network &amp; </a:t>
          </a:r>
          <a:br>
            <a:rPr lang="en-US" sz="900" dirty="0">
              <a:solidFill>
                <a:schemeClr val="bg1"/>
              </a:solidFill>
            </a:rPr>
          </a:br>
          <a:r>
            <a:rPr lang="en-US" sz="900" dirty="0">
              <a:solidFill>
                <a:schemeClr val="bg1"/>
              </a:solidFill>
            </a:rPr>
            <a:t>Compute Technology</a:t>
          </a:r>
        </a:p>
        <a:p>
          <a:r>
            <a:rPr lang="en-US" sz="900" b="1" dirty="0">
              <a:solidFill>
                <a:schemeClr val="bg1"/>
              </a:solidFill>
            </a:rPr>
            <a:t>William Koetz</a:t>
          </a:r>
          <a:endParaRPr lang="en-US" sz="900" dirty="0">
            <a:solidFill>
              <a:schemeClr val="bg1"/>
            </a:solidFill>
          </a:endParaRPr>
        </a:p>
      </dgm:t>
    </dgm:pt>
    <dgm:pt modelId="{93793C77-22A1-4452-AA5B-CD75C3A2088D}" type="parTrans" cxnId="{39718F2F-F1BB-4543-94B9-E375F01D1237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23F7F991-0E15-4B2C-9412-38FC07AC3355}" type="sibTrans" cxnId="{39718F2F-F1BB-4543-94B9-E375F01D1237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C4171510-A219-4D73-ABD0-9340201AB08B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VP Chief Information Security Officer</a:t>
          </a:r>
        </a:p>
        <a:p>
          <a:pPr>
            <a:buNone/>
          </a:pPr>
          <a:r>
            <a:rPr lang="en-US" sz="900" b="1" dirty="0">
              <a:solidFill>
                <a:schemeClr val="bg1"/>
              </a:solidFill>
            </a:rPr>
            <a:t>Gregory Crabb</a:t>
          </a:r>
        </a:p>
      </dgm:t>
    </dgm:pt>
    <dgm:pt modelId="{C596D3E0-CF1C-4186-873C-266C0BDDA405}" type="parTrans" cxnId="{0C7711AA-3347-45A2-BD1F-7A8F83B66F66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55F7E4BD-CE46-4672-9F79-FC039A5ADB47}" type="sibTrans" cxnId="{0C7711AA-3347-45A2-BD1F-7A8F83B66F66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25AF2A20-742B-4B54-82EE-1A36C3C1A1C1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VP Technology Application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Marc McCrery</a:t>
          </a:r>
        </a:p>
      </dgm:t>
    </dgm:pt>
    <dgm:pt modelId="{DD5605C9-86D4-46AB-815E-97791D76E890}" type="parTrans" cxnId="{DDE97A23-B107-4301-843B-9FAB7A3824CE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DB2CF243-4E5E-43F5-BC45-86118435809D}" type="sibTrans" cxnId="{DDE97A23-B107-4301-843B-9FAB7A3824CE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735E0ECF-1473-4459-9782-B3BFD89D844B}">
      <dgm:prSet phldrT="[Text]" custT="1"/>
      <dgm:spPr>
        <a:solidFill>
          <a:schemeClr val="accent1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Chief Information Officer </a:t>
          </a:r>
        </a:p>
        <a:p>
          <a:r>
            <a:rPr lang="en-US" sz="900" b="1" dirty="0">
              <a:solidFill>
                <a:schemeClr val="bg1"/>
              </a:solidFill>
            </a:rPr>
            <a:t>Pritha Mehra</a:t>
          </a:r>
        </a:p>
      </dgm:t>
    </dgm:pt>
    <dgm:pt modelId="{90F12E4B-19E3-4560-90AB-454891BF7004}" type="parTrans" cxnId="{D9E37111-B8E5-4806-AAD1-7B9FA8B19E12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ACF038FB-1CE1-4A98-8F2E-9A6C83F1B13E}" type="sibTrans" cxnId="{D9E37111-B8E5-4806-AAD1-7B9FA8B19E12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A3996FD5-4B24-43FC-9B73-EB82E12E15BD}">
      <dgm:prSet phldrT="[Text]" custT="1"/>
      <dgm:spPr>
        <a:solidFill>
          <a:schemeClr val="accent4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Deputy CISO</a:t>
          </a:r>
        </a:p>
        <a:p>
          <a:r>
            <a:rPr lang="en-US" sz="900" b="1" dirty="0">
              <a:solidFill>
                <a:schemeClr val="bg1"/>
              </a:solidFill>
            </a:rPr>
            <a:t>Chris Nielsen</a:t>
          </a:r>
        </a:p>
      </dgm:t>
    </dgm:pt>
    <dgm:pt modelId="{D31CC421-290B-41DD-B006-DFB813BBC81E}" type="parTrans" cxnId="{1A46E2A8-2BAF-4F06-BD1D-31E4878853E3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354B113F-3523-4050-AF52-AC08D8151D46}" type="sibTrans" cxnId="{1A46E2A8-2BAF-4F06-BD1D-31E4878853E3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715F685F-1B97-4735-9D7D-F06EC3224C5B}">
      <dgm:prSet phldrT="[Text]" custT="1"/>
      <dgm:spPr>
        <a:solidFill>
          <a:schemeClr val="accent2">
            <a:lumMod val="50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Exec Dir Application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John P Byrne</a:t>
          </a:r>
        </a:p>
      </dgm:t>
    </dgm:pt>
    <dgm:pt modelId="{FD10F90F-B12D-4036-82A3-E1375D5847BB}" type="parTrans" cxnId="{323899A7-DC80-4FAC-8C77-2B5F7104424F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E45E934C-FA03-43C6-B0C5-1E366C0B57C1}" type="sibTrans" cxnId="{323899A7-DC80-4FAC-8C77-2B5F7104424F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0BFE6632-1AB2-41A4-A1CF-679F098C1CE8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Commercial Systems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Vicki M Bosch</a:t>
          </a:r>
        </a:p>
      </dgm:t>
    </dgm:pt>
    <dgm:pt modelId="{2285AABB-1B9B-4D96-92EB-A1ECC28EC77A}" type="parTrans" cxnId="{BF3E4157-32F8-4E4D-AAD4-0542AAD89A89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DCBB5A56-AC60-4485-9CF7-5DEBB8E7D79E}" type="sibTrans" cxnId="{BF3E4157-32F8-4E4D-AAD4-0542AAD89A89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111E18F4-EF8B-4472-A2D1-E52F7FB4758B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  <a:latin typeface="+mn-lt"/>
            </a:rPr>
            <a:t>Dir Commercial Payment</a:t>
          </a:r>
        </a:p>
        <a:p>
          <a:r>
            <a:rPr lang="en-US" sz="900" b="1" dirty="0">
              <a:solidFill>
                <a:schemeClr val="bg1"/>
              </a:solidFill>
              <a:latin typeface="+mn-lt"/>
            </a:rPr>
            <a:t>Lisa H Arcari</a:t>
          </a:r>
        </a:p>
      </dgm:t>
    </dgm:pt>
    <dgm:pt modelId="{868AF991-4EBE-4263-87F3-E67A2033B966}" type="parTrans" cxnId="{010821BD-9140-496C-B874-2845674FAE91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5A391C39-3151-4BBC-A20E-ACFFA20617ED}" type="sibTrans" cxnId="{010821BD-9140-496C-B874-2845674FAE91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43D09E61-C801-46FE-B2A8-596B45E28CE4}">
      <dgm:prSet phldrT="[Text]" custT="1"/>
      <dgm:spPr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pPr>
            <a:buNone/>
          </a:pPr>
          <a:r>
            <a:rPr lang="en-US" sz="900" dirty="0">
              <a:solidFill>
                <a:schemeClr val="bg1"/>
              </a:solidFill>
            </a:rPr>
            <a:t>Dir Identity and Access Management/A</a:t>
          </a:r>
        </a:p>
        <a:p>
          <a:r>
            <a:rPr lang="en-US" sz="900" b="1" dirty="0">
              <a:solidFill>
                <a:schemeClr val="bg1"/>
              </a:solidFill>
            </a:rPr>
            <a:t>Dorin Methfessel </a:t>
          </a:r>
          <a:endParaRPr lang="en-US" sz="900" dirty="0">
            <a:solidFill>
              <a:schemeClr val="bg1"/>
            </a:solidFill>
          </a:endParaRPr>
        </a:p>
      </dgm:t>
    </dgm:pt>
    <dgm:pt modelId="{263D3597-3144-4CF5-BD6B-15399BE82A0F}" type="parTrans" cxnId="{D788CEDC-27B1-4634-89D0-AB929176F38E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88D0443D-A64F-49EA-B4B3-AF5DA1192A47}" type="sibTrans" cxnId="{D788CEDC-27B1-4634-89D0-AB929176F38E}">
      <dgm:prSet/>
      <dgm:spPr/>
      <dgm:t>
        <a:bodyPr/>
        <a:lstStyle/>
        <a:p>
          <a:endParaRPr lang="en-US" sz="900">
            <a:solidFill>
              <a:schemeClr val="bg1"/>
            </a:solidFill>
          </a:endParaRPr>
        </a:p>
      </dgm:t>
    </dgm:pt>
    <dgm:pt modelId="{A062973D-5A0C-4752-8877-6FC2B2F67ECB}">
      <dgm:prSet custT="1"/>
      <dgm:spPr>
        <a:solidFill>
          <a:srgbClr val="ED7D31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Dir IT Architecture &amp; Strategy</a:t>
          </a:r>
        </a:p>
        <a:p>
          <a:pPr marL="0"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Jerry Wheeler</a:t>
          </a:r>
        </a:p>
      </dgm:t>
    </dgm:pt>
    <dgm:pt modelId="{D8684787-73BA-4FFC-B874-293483492265}" type="parTrans" cxnId="{D1E99D4C-C6F9-49A8-A995-6431C988FD7F}">
      <dgm:prSet/>
      <dgm:spPr/>
      <dgm:t>
        <a:bodyPr/>
        <a:lstStyle/>
        <a:p>
          <a:endParaRPr lang="en-US"/>
        </a:p>
      </dgm:t>
    </dgm:pt>
    <dgm:pt modelId="{07592DAF-2968-4E2E-80EF-AA206866DC36}" type="sibTrans" cxnId="{D1E99D4C-C6F9-49A8-A995-6431C988FD7F}">
      <dgm:prSet/>
      <dgm:spPr/>
      <dgm:t>
        <a:bodyPr/>
        <a:lstStyle/>
        <a:p>
          <a:endParaRPr lang="en-US"/>
        </a:p>
      </dgm:t>
    </dgm:pt>
    <dgm:pt modelId="{008A9A80-BD13-446C-833B-2B197FFBA9AB}" type="pres">
      <dgm:prSet presAssocID="{AEB5C877-C77B-47BD-825A-482B3EB5DF5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DF78B51-FF65-46D3-95B4-403BD752DD8A}" type="pres">
      <dgm:prSet presAssocID="{735E0ECF-1473-4459-9782-B3BFD89D844B}" presName="hierRoot1" presStyleCnt="0">
        <dgm:presLayoutVars>
          <dgm:hierBranch val="init"/>
        </dgm:presLayoutVars>
      </dgm:prSet>
      <dgm:spPr/>
    </dgm:pt>
    <dgm:pt modelId="{D1481A51-9A8E-4E3F-ACFE-BBFBAA069003}" type="pres">
      <dgm:prSet presAssocID="{735E0ECF-1473-4459-9782-B3BFD89D844B}" presName="rootComposite1" presStyleCnt="0"/>
      <dgm:spPr/>
    </dgm:pt>
    <dgm:pt modelId="{608CB659-20FB-4FD5-BD59-4EDC1CFD706A}" type="pres">
      <dgm:prSet presAssocID="{735E0ECF-1473-4459-9782-B3BFD89D844B}" presName="rootText1" presStyleLbl="node0" presStyleIdx="0" presStyleCnt="1" custLinFactNeighborX="1137" custLinFactNeighborY="8841">
        <dgm:presLayoutVars>
          <dgm:chPref val="3"/>
        </dgm:presLayoutVars>
      </dgm:prSet>
      <dgm:spPr/>
    </dgm:pt>
    <dgm:pt modelId="{663788D1-3B8C-4438-98A1-293F772704C9}" type="pres">
      <dgm:prSet presAssocID="{735E0ECF-1473-4459-9782-B3BFD89D844B}" presName="rootConnector1" presStyleLbl="node1" presStyleIdx="0" presStyleCnt="0"/>
      <dgm:spPr/>
    </dgm:pt>
    <dgm:pt modelId="{B3767120-1D84-4CBF-A42A-7963C47D4D0B}" type="pres">
      <dgm:prSet presAssocID="{735E0ECF-1473-4459-9782-B3BFD89D844B}" presName="hierChild2" presStyleCnt="0"/>
      <dgm:spPr/>
    </dgm:pt>
    <dgm:pt modelId="{AA2C4414-7EF3-4BAE-A19E-E52D628B3FAE}" type="pres">
      <dgm:prSet presAssocID="{93793C77-22A1-4452-AA5B-CD75C3A2088D}" presName="Name37" presStyleLbl="parChTrans1D2" presStyleIdx="0" presStyleCnt="4"/>
      <dgm:spPr/>
    </dgm:pt>
    <dgm:pt modelId="{6387B0E3-D0C5-444F-9B93-1D720208E895}" type="pres">
      <dgm:prSet presAssocID="{5D030A46-7792-4815-B57B-046A07F0140A}" presName="hierRoot2" presStyleCnt="0">
        <dgm:presLayoutVars>
          <dgm:hierBranch val="hang"/>
        </dgm:presLayoutVars>
      </dgm:prSet>
      <dgm:spPr/>
    </dgm:pt>
    <dgm:pt modelId="{12FC5992-2B6A-4B44-9993-4ACF04F605A0}" type="pres">
      <dgm:prSet presAssocID="{5D030A46-7792-4815-B57B-046A07F0140A}" presName="rootComposite" presStyleCnt="0"/>
      <dgm:spPr/>
    </dgm:pt>
    <dgm:pt modelId="{AC5FF851-1189-4F95-8351-A97A476B2246}" type="pres">
      <dgm:prSet presAssocID="{5D030A46-7792-4815-B57B-046A07F0140A}" presName="rootText" presStyleLbl="node2" presStyleIdx="0" presStyleCnt="4" custLinFactNeighborX="8749" custLinFactNeighborY="-305">
        <dgm:presLayoutVars>
          <dgm:chPref val="3"/>
        </dgm:presLayoutVars>
      </dgm:prSet>
      <dgm:spPr/>
    </dgm:pt>
    <dgm:pt modelId="{2FD465CE-D641-4F07-9394-155CB7FBF3F3}" type="pres">
      <dgm:prSet presAssocID="{5D030A46-7792-4815-B57B-046A07F0140A}" presName="rootConnector" presStyleLbl="node2" presStyleIdx="0" presStyleCnt="4"/>
      <dgm:spPr/>
    </dgm:pt>
    <dgm:pt modelId="{C59FB238-8008-4F2B-BC0E-E3651B88BA6C}" type="pres">
      <dgm:prSet presAssocID="{5D030A46-7792-4815-B57B-046A07F0140A}" presName="hierChild4" presStyleCnt="0"/>
      <dgm:spPr/>
    </dgm:pt>
    <dgm:pt modelId="{8349AF55-683F-4F61-A046-C0C13CC76D05}" type="pres">
      <dgm:prSet presAssocID="{5D030A46-7792-4815-B57B-046A07F0140A}" presName="hierChild5" presStyleCnt="0"/>
      <dgm:spPr/>
    </dgm:pt>
    <dgm:pt modelId="{2D62CCC2-632D-47CD-A6FB-AF9328D9C4C3}" type="pres">
      <dgm:prSet presAssocID="{C596D3E0-CF1C-4186-873C-266C0BDDA405}" presName="Name37" presStyleLbl="parChTrans1D2" presStyleIdx="1" presStyleCnt="4"/>
      <dgm:spPr/>
    </dgm:pt>
    <dgm:pt modelId="{DFA3A91B-E297-4234-BFEC-E07215C4A4F0}" type="pres">
      <dgm:prSet presAssocID="{C4171510-A219-4D73-ABD0-9340201AB08B}" presName="hierRoot2" presStyleCnt="0">
        <dgm:presLayoutVars>
          <dgm:hierBranch val="hang"/>
        </dgm:presLayoutVars>
      </dgm:prSet>
      <dgm:spPr/>
    </dgm:pt>
    <dgm:pt modelId="{09E9B259-37C6-4DAC-B977-55FDCFAE76AB}" type="pres">
      <dgm:prSet presAssocID="{C4171510-A219-4D73-ABD0-9340201AB08B}" presName="rootComposite" presStyleCnt="0"/>
      <dgm:spPr/>
    </dgm:pt>
    <dgm:pt modelId="{43FE5B09-28AC-4B39-BFE9-1C78BB5E9846}" type="pres">
      <dgm:prSet presAssocID="{C4171510-A219-4D73-ABD0-9340201AB08B}" presName="rootText" presStyleLbl="node2" presStyleIdx="1" presStyleCnt="4" custLinFactNeighborX="2769">
        <dgm:presLayoutVars>
          <dgm:chPref val="3"/>
        </dgm:presLayoutVars>
      </dgm:prSet>
      <dgm:spPr/>
    </dgm:pt>
    <dgm:pt modelId="{71D9930B-3E8E-46AF-9F9D-50C9E28A14EA}" type="pres">
      <dgm:prSet presAssocID="{C4171510-A219-4D73-ABD0-9340201AB08B}" presName="rootConnector" presStyleLbl="node2" presStyleIdx="1" presStyleCnt="4"/>
      <dgm:spPr/>
    </dgm:pt>
    <dgm:pt modelId="{CE602C07-2778-4BEB-9377-8EF46EEC3364}" type="pres">
      <dgm:prSet presAssocID="{C4171510-A219-4D73-ABD0-9340201AB08B}" presName="hierChild4" presStyleCnt="0"/>
      <dgm:spPr/>
    </dgm:pt>
    <dgm:pt modelId="{F3A6A1AF-C065-491A-9B9F-6AC6C886A573}" type="pres">
      <dgm:prSet presAssocID="{D31CC421-290B-41DD-B006-DFB813BBC81E}" presName="Name48" presStyleLbl="parChTrans1D3" presStyleIdx="0" presStyleCnt="5"/>
      <dgm:spPr/>
    </dgm:pt>
    <dgm:pt modelId="{5AD9586A-22ED-482B-AB10-96CE9308A8D1}" type="pres">
      <dgm:prSet presAssocID="{A3996FD5-4B24-43FC-9B73-EB82E12E15BD}" presName="hierRoot2" presStyleCnt="0">
        <dgm:presLayoutVars>
          <dgm:hierBranch val="hang"/>
        </dgm:presLayoutVars>
      </dgm:prSet>
      <dgm:spPr/>
    </dgm:pt>
    <dgm:pt modelId="{BC401DEC-D9EE-4A52-A4BF-CD5CF4CE95EB}" type="pres">
      <dgm:prSet presAssocID="{A3996FD5-4B24-43FC-9B73-EB82E12E15BD}" presName="rootComposite" presStyleCnt="0"/>
      <dgm:spPr/>
    </dgm:pt>
    <dgm:pt modelId="{A8A43A45-90AB-4F0B-9084-0D14C71D65E1}" type="pres">
      <dgm:prSet presAssocID="{A3996FD5-4B24-43FC-9B73-EB82E12E15BD}" presName="rootText" presStyleLbl="node3" presStyleIdx="0" presStyleCnt="5" custLinFactNeighborX="5231" custLinFactNeighborY="3381">
        <dgm:presLayoutVars>
          <dgm:chPref val="3"/>
        </dgm:presLayoutVars>
      </dgm:prSet>
      <dgm:spPr/>
    </dgm:pt>
    <dgm:pt modelId="{2C183873-6D40-4E8A-85C6-17B11FDDE65A}" type="pres">
      <dgm:prSet presAssocID="{A3996FD5-4B24-43FC-9B73-EB82E12E15BD}" presName="rootConnector" presStyleLbl="node3" presStyleIdx="0" presStyleCnt="5"/>
      <dgm:spPr/>
    </dgm:pt>
    <dgm:pt modelId="{5021666D-94CC-42EC-8201-FC8D1D0E328B}" type="pres">
      <dgm:prSet presAssocID="{A3996FD5-4B24-43FC-9B73-EB82E12E15BD}" presName="hierChild4" presStyleCnt="0"/>
      <dgm:spPr/>
    </dgm:pt>
    <dgm:pt modelId="{98B6BC08-FD7A-4592-83DE-B656F5E44A89}" type="pres">
      <dgm:prSet presAssocID="{A3996FD5-4B24-43FC-9B73-EB82E12E15BD}" presName="hierChild5" presStyleCnt="0"/>
      <dgm:spPr/>
    </dgm:pt>
    <dgm:pt modelId="{9BB52E86-A6D3-49C2-97F6-2C4768AB09C8}" type="pres">
      <dgm:prSet presAssocID="{263D3597-3144-4CF5-BD6B-15399BE82A0F}" presName="Name48" presStyleLbl="parChTrans1D3" presStyleIdx="1" presStyleCnt="5"/>
      <dgm:spPr/>
    </dgm:pt>
    <dgm:pt modelId="{15722F4A-64EC-41B1-A89F-7F50312897CB}" type="pres">
      <dgm:prSet presAssocID="{43D09E61-C801-46FE-B2A8-596B45E28CE4}" presName="hierRoot2" presStyleCnt="0">
        <dgm:presLayoutVars>
          <dgm:hierBranch val="init"/>
        </dgm:presLayoutVars>
      </dgm:prSet>
      <dgm:spPr/>
    </dgm:pt>
    <dgm:pt modelId="{704642B8-8C08-4A64-A891-EA2604FC6DCE}" type="pres">
      <dgm:prSet presAssocID="{43D09E61-C801-46FE-B2A8-596B45E28CE4}" presName="rootComposite" presStyleCnt="0"/>
      <dgm:spPr/>
    </dgm:pt>
    <dgm:pt modelId="{BF4F725A-972C-4E98-BF9C-89D197DEB066}" type="pres">
      <dgm:prSet presAssocID="{43D09E61-C801-46FE-B2A8-596B45E28CE4}" presName="rootText" presStyleLbl="node3" presStyleIdx="1" presStyleCnt="5" custLinFactNeighborX="1223" custLinFactNeighborY="3381">
        <dgm:presLayoutVars>
          <dgm:chPref val="3"/>
        </dgm:presLayoutVars>
      </dgm:prSet>
      <dgm:spPr>
        <a:prstGeom prst="rect">
          <a:avLst/>
        </a:prstGeom>
      </dgm:spPr>
    </dgm:pt>
    <dgm:pt modelId="{9215CBBE-094A-48EA-8204-7340B0644A41}" type="pres">
      <dgm:prSet presAssocID="{43D09E61-C801-46FE-B2A8-596B45E28CE4}" presName="rootConnector" presStyleLbl="node3" presStyleIdx="1" presStyleCnt="5"/>
      <dgm:spPr/>
    </dgm:pt>
    <dgm:pt modelId="{6D16C03C-8393-47FE-A73B-6E5C1457267B}" type="pres">
      <dgm:prSet presAssocID="{43D09E61-C801-46FE-B2A8-596B45E28CE4}" presName="hierChild4" presStyleCnt="0"/>
      <dgm:spPr/>
    </dgm:pt>
    <dgm:pt modelId="{F55F956D-EB59-4BE0-8593-EDF047D1ADED}" type="pres">
      <dgm:prSet presAssocID="{43D09E61-C801-46FE-B2A8-596B45E28CE4}" presName="hierChild5" presStyleCnt="0"/>
      <dgm:spPr/>
    </dgm:pt>
    <dgm:pt modelId="{5BC729F7-A32A-4515-A574-DFBC30FDA19B}" type="pres">
      <dgm:prSet presAssocID="{C4171510-A219-4D73-ABD0-9340201AB08B}" presName="hierChild5" presStyleCnt="0"/>
      <dgm:spPr/>
    </dgm:pt>
    <dgm:pt modelId="{04B36B14-FDED-4614-BB74-97EE5BB8F52D}" type="pres">
      <dgm:prSet presAssocID="{DD5605C9-86D4-46AB-815E-97791D76E890}" presName="Name37" presStyleLbl="parChTrans1D2" presStyleIdx="2" presStyleCnt="4"/>
      <dgm:spPr/>
    </dgm:pt>
    <dgm:pt modelId="{106AC147-102C-49EA-AA5F-EF5284021786}" type="pres">
      <dgm:prSet presAssocID="{25AF2A20-742B-4B54-82EE-1A36C3C1A1C1}" presName="hierRoot2" presStyleCnt="0">
        <dgm:presLayoutVars>
          <dgm:hierBranch val="hang"/>
        </dgm:presLayoutVars>
      </dgm:prSet>
      <dgm:spPr/>
    </dgm:pt>
    <dgm:pt modelId="{A185BBF1-A3C4-4167-BD2D-01117B8865F1}" type="pres">
      <dgm:prSet presAssocID="{25AF2A20-742B-4B54-82EE-1A36C3C1A1C1}" presName="rootComposite" presStyleCnt="0"/>
      <dgm:spPr/>
    </dgm:pt>
    <dgm:pt modelId="{6F5EABE9-ADCF-4968-81B3-04689CB922B9}" type="pres">
      <dgm:prSet presAssocID="{25AF2A20-742B-4B54-82EE-1A36C3C1A1C1}" presName="rootText" presStyleLbl="node2" presStyleIdx="2" presStyleCnt="4" custLinFactNeighborX="2769">
        <dgm:presLayoutVars>
          <dgm:chPref val="3"/>
        </dgm:presLayoutVars>
      </dgm:prSet>
      <dgm:spPr/>
    </dgm:pt>
    <dgm:pt modelId="{492EE907-4099-4D6E-8EF8-4A500681DBF1}" type="pres">
      <dgm:prSet presAssocID="{25AF2A20-742B-4B54-82EE-1A36C3C1A1C1}" presName="rootConnector" presStyleLbl="node2" presStyleIdx="2" presStyleCnt="4"/>
      <dgm:spPr/>
    </dgm:pt>
    <dgm:pt modelId="{604BD7F7-0389-4ECB-B419-E102FB55CEAC}" type="pres">
      <dgm:prSet presAssocID="{25AF2A20-742B-4B54-82EE-1A36C3C1A1C1}" presName="hierChild4" presStyleCnt="0"/>
      <dgm:spPr/>
    </dgm:pt>
    <dgm:pt modelId="{EA7938CB-A733-44C1-A071-6CDE35869C6C}" type="pres">
      <dgm:prSet presAssocID="{FD10F90F-B12D-4036-82A3-E1375D5847BB}" presName="Name48" presStyleLbl="parChTrans1D3" presStyleIdx="2" presStyleCnt="5"/>
      <dgm:spPr/>
    </dgm:pt>
    <dgm:pt modelId="{C9F3BD78-2D0F-4066-8C62-A4BEFC28C0D0}" type="pres">
      <dgm:prSet presAssocID="{715F685F-1B97-4735-9D7D-F06EC3224C5B}" presName="hierRoot2" presStyleCnt="0">
        <dgm:presLayoutVars>
          <dgm:hierBranch val="hang"/>
        </dgm:presLayoutVars>
      </dgm:prSet>
      <dgm:spPr/>
    </dgm:pt>
    <dgm:pt modelId="{2F419F38-8B4E-4E64-A62C-E8BE420A6A18}" type="pres">
      <dgm:prSet presAssocID="{715F685F-1B97-4735-9D7D-F06EC3224C5B}" presName="rootComposite" presStyleCnt="0"/>
      <dgm:spPr/>
    </dgm:pt>
    <dgm:pt modelId="{77B0771F-7A97-4F55-B5C4-7CE3A24EA5FB}" type="pres">
      <dgm:prSet presAssocID="{715F685F-1B97-4735-9D7D-F06EC3224C5B}" presName="rootText" presStyleLbl="node3" presStyleIdx="2" presStyleCnt="5" custLinFactNeighborX="8050" custLinFactNeighborY="1014">
        <dgm:presLayoutVars>
          <dgm:chPref val="3"/>
        </dgm:presLayoutVars>
      </dgm:prSet>
      <dgm:spPr>
        <a:xfrm>
          <a:off x="5810204" y="2408043"/>
          <a:ext cx="1125955" cy="562977"/>
        </a:xfrm>
        <a:prstGeom prst="rect">
          <a:avLst/>
        </a:prstGeom>
      </dgm:spPr>
    </dgm:pt>
    <dgm:pt modelId="{3F7C118D-3B24-43E5-AF62-CC83C5D3392C}" type="pres">
      <dgm:prSet presAssocID="{715F685F-1B97-4735-9D7D-F06EC3224C5B}" presName="rootConnector" presStyleLbl="node3" presStyleIdx="2" presStyleCnt="5"/>
      <dgm:spPr/>
    </dgm:pt>
    <dgm:pt modelId="{6C7F5E37-52AC-45D6-9664-BC3749591BBC}" type="pres">
      <dgm:prSet presAssocID="{715F685F-1B97-4735-9D7D-F06EC3224C5B}" presName="hierChild4" presStyleCnt="0"/>
      <dgm:spPr/>
    </dgm:pt>
    <dgm:pt modelId="{FEFB6E19-5B2F-4FA2-B32C-4A76C28145E3}" type="pres">
      <dgm:prSet presAssocID="{715F685F-1B97-4735-9D7D-F06EC3224C5B}" presName="hierChild5" presStyleCnt="0"/>
      <dgm:spPr/>
    </dgm:pt>
    <dgm:pt modelId="{900AFB7F-2B1C-4F2F-90FD-534B3C5D185A}" type="pres">
      <dgm:prSet presAssocID="{868AF991-4EBE-4263-87F3-E67A2033B966}" presName="Name48" presStyleLbl="parChTrans1D3" presStyleIdx="3" presStyleCnt="5"/>
      <dgm:spPr/>
    </dgm:pt>
    <dgm:pt modelId="{D2CE9645-9167-4CA8-9FAC-E5772265F1F1}" type="pres">
      <dgm:prSet presAssocID="{111E18F4-EF8B-4472-A2D1-E52F7FB4758B}" presName="hierRoot2" presStyleCnt="0">
        <dgm:presLayoutVars>
          <dgm:hierBranch val="hang"/>
        </dgm:presLayoutVars>
      </dgm:prSet>
      <dgm:spPr/>
    </dgm:pt>
    <dgm:pt modelId="{C62351E5-F559-42B9-866D-4EA52F6E0AC4}" type="pres">
      <dgm:prSet presAssocID="{111E18F4-EF8B-4472-A2D1-E52F7FB4758B}" presName="rootComposite" presStyleCnt="0"/>
      <dgm:spPr/>
    </dgm:pt>
    <dgm:pt modelId="{7F2C8B3F-CC73-4AF4-B493-142FDFBE4550}" type="pres">
      <dgm:prSet presAssocID="{111E18F4-EF8B-4472-A2D1-E52F7FB4758B}" presName="rootText" presStyleLbl="node3" presStyleIdx="3" presStyleCnt="5" custLinFactNeighborX="3992" custLinFactNeighborY="1014">
        <dgm:presLayoutVars>
          <dgm:chPref val="3"/>
        </dgm:presLayoutVars>
      </dgm:prSet>
      <dgm:spPr/>
    </dgm:pt>
    <dgm:pt modelId="{91F4DFD6-08F3-4398-8E0A-317B7ABFFAC4}" type="pres">
      <dgm:prSet presAssocID="{111E18F4-EF8B-4472-A2D1-E52F7FB4758B}" presName="rootConnector" presStyleLbl="node3" presStyleIdx="3" presStyleCnt="5"/>
      <dgm:spPr/>
    </dgm:pt>
    <dgm:pt modelId="{5A4AA5E7-9412-4F52-B3B0-D34C8376690E}" type="pres">
      <dgm:prSet presAssocID="{111E18F4-EF8B-4472-A2D1-E52F7FB4758B}" presName="hierChild4" presStyleCnt="0"/>
      <dgm:spPr/>
    </dgm:pt>
    <dgm:pt modelId="{56D83448-7242-4F44-A164-1F2F2EA1B593}" type="pres">
      <dgm:prSet presAssocID="{111E18F4-EF8B-4472-A2D1-E52F7FB4758B}" presName="hierChild5" presStyleCnt="0"/>
      <dgm:spPr/>
    </dgm:pt>
    <dgm:pt modelId="{780BE9DB-483E-4D39-959E-0895D44A0731}" type="pres">
      <dgm:prSet presAssocID="{2285AABB-1B9B-4D96-92EB-A1ECC28EC77A}" presName="Name48" presStyleLbl="parChTrans1D3" presStyleIdx="4" presStyleCnt="5"/>
      <dgm:spPr/>
    </dgm:pt>
    <dgm:pt modelId="{460E50AD-5371-4F35-81B3-87C773ED6693}" type="pres">
      <dgm:prSet presAssocID="{0BFE6632-1AB2-41A4-A1CF-679F098C1CE8}" presName="hierRoot2" presStyleCnt="0">
        <dgm:presLayoutVars>
          <dgm:hierBranch val="hang"/>
        </dgm:presLayoutVars>
      </dgm:prSet>
      <dgm:spPr/>
    </dgm:pt>
    <dgm:pt modelId="{D9F28B0D-1A61-48BA-B550-A33256A06117}" type="pres">
      <dgm:prSet presAssocID="{0BFE6632-1AB2-41A4-A1CF-679F098C1CE8}" presName="rootComposite" presStyleCnt="0"/>
      <dgm:spPr/>
    </dgm:pt>
    <dgm:pt modelId="{A3E4031B-8BAB-4B77-A326-269F825A8EE1}" type="pres">
      <dgm:prSet presAssocID="{0BFE6632-1AB2-41A4-A1CF-679F098C1CE8}" presName="rootText" presStyleLbl="node3" presStyleIdx="4" presStyleCnt="5" custLinFactNeighborX="7412" custLinFactNeighborY="-1236">
        <dgm:presLayoutVars>
          <dgm:chPref val="3"/>
        </dgm:presLayoutVars>
      </dgm:prSet>
      <dgm:spPr/>
    </dgm:pt>
    <dgm:pt modelId="{B9C07A85-7AF3-4DDB-BED5-54AAA28C4482}" type="pres">
      <dgm:prSet presAssocID="{0BFE6632-1AB2-41A4-A1CF-679F098C1CE8}" presName="rootConnector" presStyleLbl="node3" presStyleIdx="4" presStyleCnt="5"/>
      <dgm:spPr/>
    </dgm:pt>
    <dgm:pt modelId="{07BC0911-8342-4145-9032-C569E224ADCB}" type="pres">
      <dgm:prSet presAssocID="{0BFE6632-1AB2-41A4-A1CF-679F098C1CE8}" presName="hierChild4" presStyleCnt="0"/>
      <dgm:spPr/>
    </dgm:pt>
    <dgm:pt modelId="{0667F164-DD16-4F5D-93FD-59C74A5582C8}" type="pres">
      <dgm:prSet presAssocID="{0BFE6632-1AB2-41A4-A1CF-679F098C1CE8}" presName="hierChild5" presStyleCnt="0"/>
      <dgm:spPr/>
    </dgm:pt>
    <dgm:pt modelId="{DC47B5BE-0D25-4337-B97F-303E26D4FF58}" type="pres">
      <dgm:prSet presAssocID="{25AF2A20-742B-4B54-82EE-1A36C3C1A1C1}" presName="hierChild5" presStyleCnt="0"/>
      <dgm:spPr/>
    </dgm:pt>
    <dgm:pt modelId="{5F47D1B7-7FC0-4977-A36D-AD556BFE552D}" type="pres">
      <dgm:prSet presAssocID="{D8684787-73BA-4FFC-B874-293483492265}" presName="Name37" presStyleLbl="parChTrans1D2" presStyleIdx="3" presStyleCnt="4"/>
      <dgm:spPr/>
    </dgm:pt>
    <dgm:pt modelId="{2E2A7E7A-5EBC-430D-A26F-3FA52B6EBC79}" type="pres">
      <dgm:prSet presAssocID="{A062973D-5A0C-4752-8877-6FC2B2F67ECB}" presName="hierRoot2" presStyleCnt="0">
        <dgm:presLayoutVars>
          <dgm:hierBranch val="init"/>
        </dgm:presLayoutVars>
      </dgm:prSet>
      <dgm:spPr/>
    </dgm:pt>
    <dgm:pt modelId="{A7B164EB-701D-49B6-B705-746E83900E04}" type="pres">
      <dgm:prSet presAssocID="{A062973D-5A0C-4752-8877-6FC2B2F67ECB}" presName="rootComposite" presStyleCnt="0"/>
      <dgm:spPr/>
    </dgm:pt>
    <dgm:pt modelId="{DCBFA766-EA63-4B1A-8B1A-B5ED05ED7FBD}" type="pres">
      <dgm:prSet presAssocID="{A062973D-5A0C-4752-8877-6FC2B2F67ECB}" presName="rootText" presStyleLbl="node2" presStyleIdx="3" presStyleCnt="4">
        <dgm:presLayoutVars>
          <dgm:chPref val="3"/>
        </dgm:presLayoutVars>
      </dgm:prSet>
      <dgm:spPr>
        <a:xfrm>
          <a:off x="9049200" y="1498043"/>
          <a:ext cx="1869476" cy="934738"/>
        </a:xfrm>
        <a:prstGeom prst="rect">
          <a:avLst/>
        </a:prstGeom>
      </dgm:spPr>
    </dgm:pt>
    <dgm:pt modelId="{4ED0C4B9-8DD1-4D15-B333-B1B9A8F18D61}" type="pres">
      <dgm:prSet presAssocID="{A062973D-5A0C-4752-8877-6FC2B2F67ECB}" presName="rootConnector" presStyleLbl="node2" presStyleIdx="3" presStyleCnt="4"/>
      <dgm:spPr/>
    </dgm:pt>
    <dgm:pt modelId="{49BB3847-DEAA-41EE-B9E0-0F68E4C5BDA4}" type="pres">
      <dgm:prSet presAssocID="{A062973D-5A0C-4752-8877-6FC2B2F67ECB}" presName="hierChild4" presStyleCnt="0"/>
      <dgm:spPr/>
    </dgm:pt>
    <dgm:pt modelId="{11A9502F-3555-49FA-9D2C-158B16D1F66A}" type="pres">
      <dgm:prSet presAssocID="{A062973D-5A0C-4752-8877-6FC2B2F67ECB}" presName="hierChild5" presStyleCnt="0"/>
      <dgm:spPr/>
    </dgm:pt>
    <dgm:pt modelId="{A01BFD0A-DF36-4B6D-9BA0-3A05A52ED7B1}" type="pres">
      <dgm:prSet presAssocID="{735E0ECF-1473-4459-9782-B3BFD89D844B}" presName="hierChild3" presStyleCnt="0"/>
      <dgm:spPr/>
    </dgm:pt>
  </dgm:ptLst>
  <dgm:cxnLst>
    <dgm:cxn modelId="{B727C704-BABA-4DE5-949B-F2D44D9FA491}" type="presOf" srcId="{0BFE6632-1AB2-41A4-A1CF-679F098C1CE8}" destId="{B9C07A85-7AF3-4DDB-BED5-54AAA28C4482}" srcOrd="1" destOrd="0" presId="urn:microsoft.com/office/officeart/2005/8/layout/orgChart1"/>
    <dgm:cxn modelId="{CE4BB30B-966B-45C3-A669-B76BD99C3168}" type="presOf" srcId="{0BFE6632-1AB2-41A4-A1CF-679F098C1CE8}" destId="{A3E4031B-8BAB-4B77-A326-269F825A8EE1}" srcOrd="0" destOrd="0" presId="urn:microsoft.com/office/officeart/2005/8/layout/orgChart1"/>
    <dgm:cxn modelId="{D9E37111-B8E5-4806-AAD1-7B9FA8B19E12}" srcId="{AEB5C877-C77B-47BD-825A-482B3EB5DF5F}" destId="{735E0ECF-1473-4459-9782-B3BFD89D844B}" srcOrd="0" destOrd="0" parTransId="{90F12E4B-19E3-4560-90AB-454891BF7004}" sibTransId="{ACF038FB-1CE1-4A98-8F2E-9A6C83F1B13E}"/>
    <dgm:cxn modelId="{51B51D1F-2CB8-43CD-891F-7FC015D8999E}" type="presOf" srcId="{A062973D-5A0C-4752-8877-6FC2B2F67ECB}" destId="{4ED0C4B9-8DD1-4D15-B333-B1B9A8F18D61}" srcOrd="1" destOrd="0" presId="urn:microsoft.com/office/officeart/2005/8/layout/orgChart1"/>
    <dgm:cxn modelId="{DDE97A23-B107-4301-843B-9FAB7A3824CE}" srcId="{735E0ECF-1473-4459-9782-B3BFD89D844B}" destId="{25AF2A20-742B-4B54-82EE-1A36C3C1A1C1}" srcOrd="2" destOrd="0" parTransId="{DD5605C9-86D4-46AB-815E-97791D76E890}" sibTransId="{DB2CF243-4E5E-43F5-BC45-86118435809D}"/>
    <dgm:cxn modelId="{39718F2F-F1BB-4543-94B9-E375F01D1237}" srcId="{735E0ECF-1473-4459-9782-B3BFD89D844B}" destId="{5D030A46-7792-4815-B57B-046A07F0140A}" srcOrd="0" destOrd="0" parTransId="{93793C77-22A1-4452-AA5B-CD75C3A2088D}" sibTransId="{23F7F991-0E15-4B2C-9412-38FC07AC3355}"/>
    <dgm:cxn modelId="{BF796633-D964-451F-B9F3-256C8D0C471D}" type="presOf" srcId="{DD5605C9-86D4-46AB-815E-97791D76E890}" destId="{04B36B14-FDED-4614-BB74-97EE5BB8F52D}" srcOrd="0" destOrd="0" presId="urn:microsoft.com/office/officeart/2005/8/layout/orgChart1"/>
    <dgm:cxn modelId="{4EF13E66-5137-4973-945B-7F351A5B460B}" type="presOf" srcId="{868AF991-4EBE-4263-87F3-E67A2033B966}" destId="{900AFB7F-2B1C-4F2F-90FD-534B3C5D185A}" srcOrd="0" destOrd="0" presId="urn:microsoft.com/office/officeart/2005/8/layout/orgChart1"/>
    <dgm:cxn modelId="{31C90A48-C72C-491D-A92D-3A474CB7D479}" type="presOf" srcId="{5D030A46-7792-4815-B57B-046A07F0140A}" destId="{2FD465CE-D641-4F07-9394-155CB7FBF3F3}" srcOrd="1" destOrd="0" presId="urn:microsoft.com/office/officeart/2005/8/layout/orgChart1"/>
    <dgm:cxn modelId="{D1E99D4C-C6F9-49A8-A995-6431C988FD7F}" srcId="{735E0ECF-1473-4459-9782-B3BFD89D844B}" destId="{A062973D-5A0C-4752-8877-6FC2B2F67ECB}" srcOrd="3" destOrd="0" parTransId="{D8684787-73BA-4FFC-B874-293483492265}" sibTransId="{07592DAF-2968-4E2E-80EF-AA206866DC36}"/>
    <dgm:cxn modelId="{C3018271-3080-4BC6-AA9E-D3CAA348E0C9}" type="presOf" srcId="{263D3597-3144-4CF5-BD6B-15399BE82A0F}" destId="{9BB52E86-A6D3-49C2-97F6-2C4768AB09C8}" srcOrd="0" destOrd="0" presId="urn:microsoft.com/office/officeart/2005/8/layout/orgChart1"/>
    <dgm:cxn modelId="{AAEC8174-EFA4-45DE-8C80-FE9901949D2C}" type="presOf" srcId="{5D030A46-7792-4815-B57B-046A07F0140A}" destId="{AC5FF851-1189-4F95-8351-A97A476B2246}" srcOrd="0" destOrd="0" presId="urn:microsoft.com/office/officeart/2005/8/layout/orgChart1"/>
    <dgm:cxn modelId="{BF3E4157-32F8-4E4D-AAD4-0542AAD89A89}" srcId="{25AF2A20-742B-4B54-82EE-1A36C3C1A1C1}" destId="{0BFE6632-1AB2-41A4-A1CF-679F098C1CE8}" srcOrd="2" destOrd="0" parTransId="{2285AABB-1B9B-4D96-92EB-A1ECC28EC77A}" sibTransId="{DCBB5A56-AC60-4485-9CF7-5DEBB8E7D79E}"/>
    <dgm:cxn modelId="{0ECC4382-2D75-451B-B843-EB1DA230496D}" type="presOf" srcId="{C4171510-A219-4D73-ABD0-9340201AB08B}" destId="{71D9930B-3E8E-46AF-9F9D-50C9E28A14EA}" srcOrd="1" destOrd="0" presId="urn:microsoft.com/office/officeart/2005/8/layout/orgChart1"/>
    <dgm:cxn modelId="{3A01ED84-90B0-4F25-8057-AB7EABCA3396}" type="presOf" srcId="{A062973D-5A0C-4752-8877-6FC2B2F67ECB}" destId="{DCBFA766-EA63-4B1A-8B1A-B5ED05ED7FBD}" srcOrd="0" destOrd="0" presId="urn:microsoft.com/office/officeart/2005/8/layout/orgChart1"/>
    <dgm:cxn modelId="{F5C8658B-C641-4D5B-9611-EA2FB5D34D15}" type="presOf" srcId="{735E0ECF-1473-4459-9782-B3BFD89D844B}" destId="{608CB659-20FB-4FD5-BD59-4EDC1CFD706A}" srcOrd="0" destOrd="0" presId="urn:microsoft.com/office/officeart/2005/8/layout/orgChart1"/>
    <dgm:cxn modelId="{33AF3999-0C75-4883-8FD9-D4CED9E7C594}" type="presOf" srcId="{A3996FD5-4B24-43FC-9B73-EB82E12E15BD}" destId="{A8A43A45-90AB-4F0B-9084-0D14C71D65E1}" srcOrd="0" destOrd="0" presId="urn:microsoft.com/office/officeart/2005/8/layout/orgChart1"/>
    <dgm:cxn modelId="{CAACDBA0-2D2E-4A6F-B145-B8710EB5B950}" type="presOf" srcId="{2285AABB-1B9B-4D96-92EB-A1ECC28EC77A}" destId="{780BE9DB-483E-4D39-959E-0895D44A0731}" srcOrd="0" destOrd="0" presId="urn:microsoft.com/office/officeart/2005/8/layout/orgChart1"/>
    <dgm:cxn modelId="{D1662BA2-0044-4920-AE9A-ECC67C36B483}" type="presOf" srcId="{93793C77-22A1-4452-AA5B-CD75C3A2088D}" destId="{AA2C4414-7EF3-4BAE-A19E-E52D628B3FAE}" srcOrd="0" destOrd="0" presId="urn:microsoft.com/office/officeart/2005/8/layout/orgChart1"/>
    <dgm:cxn modelId="{BF0293A6-4CEC-4AF2-A719-BF9277F1B204}" type="presOf" srcId="{A3996FD5-4B24-43FC-9B73-EB82E12E15BD}" destId="{2C183873-6D40-4E8A-85C6-17B11FDDE65A}" srcOrd="1" destOrd="0" presId="urn:microsoft.com/office/officeart/2005/8/layout/orgChart1"/>
    <dgm:cxn modelId="{48C00EA7-7229-4A80-8979-32E97270BABA}" type="presOf" srcId="{715F685F-1B97-4735-9D7D-F06EC3224C5B}" destId="{77B0771F-7A97-4F55-B5C4-7CE3A24EA5FB}" srcOrd="0" destOrd="0" presId="urn:microsoft.com/office/officeart/2005/8/layout/orgChart1"/>
    <dgm:cxn modelId="{323899A7-DC80-4FAC-8C77-2B5F7104424F}" srcId="{25AF2A20-742B-4B54-82EE-1A36C3C1A1C1}" destId="{715F685F-1B97-4735-9D7D-F06EC3224C5B}" srcOrd="0" destOrd="0" parTransId="{FD10F90F-B12D-4036-82A3-E1375D5847BB}" sibTransId="{E45E934C-FA03-43C6-B0C5-1E366C0B57C1}"/>
    <dgm:cxn modelId="{1A46E2A8-2BAF-4F06-BD1D-31E4878853E3}" srcId="{C4171510-A219-4D73-ABD0-9340201AB08B}" destId="{A3996FD5-4B24-43FC-9B73-EB82E12E15BD}" srcOrd="0" destOrd="0" parTransId="{D31CC421-290B-41DD-B006-DFB813BBC81E}" sibTransId="{354B113F-3523-4050-AF52-AC08D8151D46}"/>
    <dgm:cxn modelId="{B54E47A9-494D-47BD-99FD-F5F4A09AE06D}" type="presOf" srcId="{D8684787-73BA-4FFC-B874-293483492265}" destId="{5F47D1B7-7FC0-4977-A36D-AD556BFE552D}" srcOrd="0" destOrd="0" presId="urn:microsoft.com/office/officeart/2005/8/layout/orgChart1"/>
    <dgm:cxn modelId="{0C7711AA-3347-45A2-BD1F-7A8F83B66F66}" srcId="{735E0ECF-1473-4459-9782-B3BFD89D844B}" destId="{C4171510-A219-4D73-ABD0-9340201AB08B}" srcOrd="1" destOrd="0" parTransId="{C596D3E0-CF1C-4186-873C-266C0BDDA405}" sibTransId="{55F7E4BD-CE46-4672-9F79-FC039A5ADB47}"/>
    <dgm:cxn modelId="{C5F9A2B4-994F-4B02-89C5-4AA49B6FED21}" type="presOf" srcId="{25AF2A20-742B-4B54-82EE-1A36C3C1A1C1}" destId="{6F5EABE9-ADCF-4968-81B3-04689CB922B9}" srcOrd="0" destOrd="0" presId="urn:microsoft.com/office/officeart/2005/8/layout/orgChart1"/>
    <dgm:cxn modelId="{57614DBA-70EE-4B8D-BC03-721A59D30590}" type="presOf" srcId="{43D09E61-C801-46FE-B2A8-596B45E28CE4}" destId="{9215CBBE-094A-48EA-8204-7340B0644A41}" srcOrd="1" destOrd="0" presId="urn:microsoft.com/office/officeart/2005/8/layout/orgChart1"/>
    <dgm:cxn modelId="{010821BD-9140-496C-B874-2845674FAE91}" srcId="{25AF2A20-742B-4B54-82EE-1A36C3C1A1C1}" destId="{111E18F4-EF8B-4472-A2D1-E52F7FB4758B}" srcOrd="1" destOrd="0" parTransId="{868AF991-4EBE-4263-87F3-E67A2033B966}" sibTransId="{5A391C39-3151-4BBC-A20E-ACFFA20617ED}"/>
    <dgm:cxn modelId="{BEF6FDBD-B760-4A25-992B-543615E8DFC2}" type="presOf" srcId="{C4171510-A219-4D73-ABD0-9340201AB08B}" destId="{43FE5B09-28AC-4B39-BFE9-1C78BB5E9846}" srcOrd="0" destOrd="0" presId="urn:microsoft.com/office/officeart/2005/8/layout/orgChart1"/>
    <dgm:cxn modelId="{C5697BBF-A660-4CE2-BF5B-CBA9F3362CF8}" type="presOf" srcId="{C596D3E0-CF1C-4186-873C-266C0BDDA405}" destId="{2D62CCC2-632D-47CD-A6FB-AF9328D9C4C3}" srcOrd="0" destOrd="0" presId="urn:microsoft.com/office/officeart/2005/8/layout/orgChart1"/>
    <dgm:cxn modelId="{52AB60C2-3BB1-4AA4-BE65-847609C82FF1}" type="presOf" srcId="{D31CC421-290B-41DD-B006-DFB813BBC81E}" destId="{F3A6A1AF-C065-491A-9B9F-6AC6C886A573}" srcOrd="0" destOrd="0" presId="urn:microsoft.com/office/officeart/2005/8/layout/orgChart1"/>
    <dgm:cxn modelId="{BFC146C5-3A76-4B73-BC01-3D378082D3E6}" type="presOf" srcId="{43D09E61-C801-46FE-B2A8-596B45E28CE4}" destId="{BF4F725A-972C-4E98-BF9C-89D197DEB066}" srcOrd="0" destOrd="0" presId="urn:microsoft.com/office/officeart/2005/8/layout/orgChart1"/>
    <dgm:cxn modelId="{D788CEDC-27B1-4634-89D0-AB929176F38E}" srcId="{C4171510-A219-4D73-ABD0-9340201AB08B}" destId="{43D09E61-C801-46FE-B2A8-596B45E28CE4}" srcOrd="1" destOrd="0" parTransId="{263D3597-3144-4CF5-BD6B-15399BE82A0F}" sibTransId="{88D0443D-A64F-49EA-B4B3-AF5DA1192A47}"/>
    <dgm:cxn modelId="{DE3BE4E7-96EB-4908-B779-45BE0C6399B2}" type="presOf" srcId="{FD10F90F-B12D-4036-82A3-E1375D5847BB}" destId="{EA7938CB-A733-44C1-A071-6CDE35869C6C}" srcOrd="0" destOrd="0" presId="urn:microsoft.com/office/officeart/2005/8/layout/orgChart1"/>
    <dgm:cxn modelId="{2F2702F1-2C2C-4617-A586-A1761A85420B}" type="presOf" srcId="{111E18F4-EF8B-4472-A2D1-E52F7FB4758B}" destId="{7F2C8B3F-CC73-4AF4-B493-142FDFBE4550}" srcOrd="0" destOrd="0" presId="urn:microsoft.com/office/officeart/2005/8/layout/orgChart1"/>
    <dgm:cxn modelId="{7EA7C5F5-79A3-4145-B2E2-630F8F86887E}" type="presOf" srcId="{AEB5C877-C77B-47BD-825A-482B3EB5DF5F}" destId="{008A9A80-BD13-446C-833B-2B197FFBA9AB}" srcOrd="0" destOrd="0" presId="urn:microsoft.com/office/officeart/2005/8/layout/orgChart1"/>
    <dgm:cxn modelId="{B09A44F6-FB9D-4A66-A1FF-DF393A33516C}" type="presOf" srcId="{25AF2A20-742B-4B54-82EE-1A36C3C1A1C1}" destId="{492EE907-4099-4D6E-8EF8-4A500681DBF1}" srcOrd="1" destOrd="0" presId="urn:microsoft.com/office/officeart/2005/8/layout/orgChart1"/>
    <dgm:cxn modelId="{1B91B9F7-2AE3-4EF1-9E47-274AA3B20355}" type="presOf" srcId="{715F685F-1B97-4735-9D7D-F06EC3224C5B}" destId="{3F7C118D-3B24-43E5-AF62-CC83C5D3392C}" srcOrd="1" destOrd="0" presId="urn:microsoft.com/office/officeart/2005/8/layout/orgChart1"/>
    <dgm:cxn modelId="{2F2130F8-4BF4-43C1-8B52-E58C7BF7CDA4}" type="presOf" srcId="{111E18F4-EF8B-4472-A2D1-E52F7FB4758B}" destId="{91F4DFD6-08F3-4398-8E0A-317B7ABFFAC4}" srcOrd="1" destOrd="0" presId="urn:microsoft.com/office/officeart/2005/8/layout/orgChart1"/>
    <dgm:cxn modelId="{D1BF9DF9-1189-4BB4-800D-FC4D5EE2293D}" type="presOf" srcId="{735E0ECF-1473-4459-9782-B3BFD89D844B}" destId="{663788D1-3B8C-4438-98A1-293F772704C9}" srcOrd="1" destOrd="0" presId="urn:microsoft.com/office/officeart/2005/8/layout/orgChart1"/>
    <dgm:cxn modelId="{2E4573A1-A4A1-49C3-92A3-B9B9C8247AE1}" type="presParOf" srcId="{008A9A80-BD13-446C-833B-2B197FFBA9AB}" destId="{ADF78B51-FF65-46D3-95B4-403BD752DD8A}" srcOrd="0" destOrd="0" presId="urn:microsoft.com/office/officeart/2005/8/layout/orgChart1"/>
    <dgm:cxn modelId="{C6508C64-7921-43C9-8100-1BC82469C1F5}" type="presParOf" srcId="{ADF78B51-FF65-46D3-95B4-403BD752DD8A}" destId="{D1481A51-9A8E-4E3F-ACFE-BBFBAA069003}" srcOrd="0" destOrd="0" presId="urn:microsoft.com/office/officeart/2005/8/layout/orgChart1"/>
    <dgm:cxn modelId="{5780DAB9-89DF-4203-8ADC-C2580D490F1F}" type="presParOf" srcId="{D1481A51-9A8E-4E3F-ACFE-BBFBAA069003}" destId="{608CB659-20FB-4FD5-BD59-4EDC1CFD706A}" srcOrd="0" destOrd="0" presId="urn:microsoft.com/office/officeart/2005/8/layout/orgChart1"/>
    <dgm:cxn modelId="{6EE2DC87-5CB0-4BBD-9968-4F1B5C6ABC26}" type="presParOf" srcId="{D1481A51-9A8E-4E3F-ACFE-BBFBAA069003}" destId="{663788D1-3B8C-4438-98A1-293F772704C9}" srcOrd="1" destOrd="0" presId="urn:microsoft.com/office/officeart/2005/8/layout/orgChart1"/>
    <dgm:cxn modelId="{B6E59371-BD2B-4A67-91A6-4677BEAAA408}" type="presParOf" srcId="{ADF78B51-FF65-46D3-95B4-403BD752DD8A}" destId="{B3767120-1D84-4CBF-A42A-7963C47D4D0B}" srcOrd="1" destOrd="0" presId="urn:microsoft.com/office/officeart/2005/8/layout/orgChart1"/>
    <dgm:cxn modelId="{AFC63573-FAFD-4581-85C9-1EC23A9F7A9E}" type="presParOf" srcId="{B3767120-1D84-4CBF-A42A-7963C47D4D0B}" destId="{AA2C4414-7EF3-4BAE-A19E-E52D628B3FAE}" srcOrd="0" destOrd="0" presId="urn:microsoft.com/office/officeart/2005/8/layout/orgChart1"/>
    <dgm:cxn modelId="{9253C694-DAFA-4083-8C03-6F64A39DD069}" type="presParOf" srcId="{B3767120-1D84-4CBF-A42A-7963C47D4D0B}" destId="{6387B0E3-D0C5-444F-9B93-1D720208E895}" srcOrd="1" destOrd="0" presId="urn:microsoft.com/office/officeart/2005/8/layout/orgChart1"/>
    <dgm:cxn modelId="{2D1522F9-BE14-419D-8FEB-4D68CC836705}" type="presParOf" srcId="{6387B0E3-D0C5-444F-9B93-1D720208E895}" destId="{12FC5992-2B6A-4B44-9993-4ACF04F605A0}" srcOrd="0" destOrd="0" presId="urn:microsoft.com/office/officeart/2005/8/layout/orgChart1"/>
    <dgm:cxn modelId="{B31F7DAE-E5E0-475E-A8EC-8D506EB990DE}" type="presParOf" srcId="{12FC5992-2B6A-4B44-9993-4ACF04F605A0}" destId="{AC5FF851-1189-4F95-8351-A97A476B2246}" srcOrd="0" destOrd="0" presId="urn:microsoft.com/office/officeart/2005/8/layout/orgChart1"/>
    <dgm:cxn modelId="{97EB837D-E706-48E3-8E2F-27CF3BBD0626}" type="presParOf" srcId="{12FC5992-2B6A-4B44-9993-4ACF04F605A0}" destId="{2FD465CE-D641-4F07-9394-155CB7FBF3F3}" srcOrd="1" destOrd="0" presId="urn:microsoft.com/office/officeart/2005/8/layout/orgChart1"/>
    <dgm:cxn modelId="{B0D087F3-5596-436B-B2D3-4CD9253D4CCC}" type="presParOf" srcId="{6387B0E3-D0C5-444F-9B93-1D720208E895}" destId="{C59FB238-8008-4F2B-BC0E-E3651B88BA6C}" srcOrd="1" destOrd="0" presId="urn:microsoft.com/office/officeart/2005/8/layout/orgChart1"/>
    <dgm:cxn modelId="{E2390BDB-4761-49BA-9180-B6F14A732962}" type="presParOf" srcId="{6387B0E3-D0C5-444F-9B93-1D720208E895}" destId="{8349AF55-683F-4F61-A046-C0C13CC76D05}" srcOrd="2" destOrd="0" presId="urn:microsoft.com/office/officeart/2005/8/layout/orgChart1"/>
    <dgm:cxn modelId="{7BD6394D-8F17-4BB4-A796-453E0B0FEF31}" type="presParOf" srcId="{B3767120-1D84-4CBF-A42A-7963C47D4D0B}" destId="{2D62CCC2-632D-47CD-A6FB-AF9328D9C4C3}" srcOrd="2" destOrd="0" presId="urn:microsoft.com/office/officeart/2005/8/layout/orgChart1"/>
    <dgm:cxn modelId="{7838C3D0-25AC-4BFE-824D-CEFAEAF8AE3B}" type="presParOf" srcId="{B3767120-1D84-4CBF-A42A-7963C47D4D0B}" destId="{DFA3A91B-E297-4234-BFEC-E07215C4A4F0}" srcOrd="3" destOrd="0" presId="urn:microsoft.com/office/officeart/2005/8/layout/orgChart1"/>
    <dgm:cxn modelId="{398A7B00-0328-4A22-B05C-8FB008089D82}" type="presParOf" srcId="{DFA3A91B-E297-4234-BFEC-E07215C4A4F0}" destId="{09E9B259-37C6-4DAC-B977-55FDCFAE76AB}" srcOrd="0" destOrd="0" presId="urn:microsoft.com/office/officeart/2005/8/layout/orgChart1"/>
    <dgm:cxn modelId="{58E0FFDE-CA18-4AF2-AEB9-7C463A134CAC}" type="presParOf" srcId="{09E9B259-37C6-4DAC-B977-55FDCFAE76AB}" destId="{43FE5B09-28AC-4B39-BFE9-1C78BB5E9846}" srcOrd="0" destOrd="0" presId="urn:microsoft.com/office/officeart/2005/8/layout/orgChart1"/>
    <dgm:cxn modelId="{8DCF7358-67FC-4188-A36B-EBC493E4155A}" type="presParOf" srcId="{09E9B259-37C6-4DAC-B977-55FDCFAE76AB}" destId="{71D9930B-3E8E-46AF-9F9D-50C9E28A14EA}" srcOrd="1" destOrd="0" presId="urn:microsoft.com/office/officeart/2005/8/layout/orgChart1"/>
    <dgm:cxn modelId="{23BF2C8F-8CAA-47CC-B209-F9D7CB866B50}" type="presParOf" srcId="{DFA3A91B-E297-4234-BFEC-E07215C4A4F0}" destId="{CE602C07-2778-4BEB-9377-8EF46EEC3364}" srcOrd="1" destOrd="0" presId="urn:microsoft.com/office/officeart/2005/8/layout/orgChart1"/>
    <dgm:cxn modelId="{16DF71A8-376C-46AF-B665-ECA2F17CCDAF}" type="presParOf" srcId="{CE602C07-2778-4BEB-9377-8EF46EEC3364}" destId="{F3A6A1AF-C065-491A-9B9F-6AC6C886A573}" srcOrd="0" destOrd="0" presId="urn:microsoft.com/office/officeart/2005/8/layout/orgChart1"/>
    <dgm:cxn modelId="{C10A89EA-ABD0-4D88-A65D-50E98B51739C}" type="presParOf" srcId="{CE602C07-2778-4BEB-9377-8EF46EEC3364}" destId="{5AD9586A-22ED-482B-AB10-96CE9308A8D1}" srcOrd="1" destOrd="0" presId="urn:microsoft.com/office/officeart/2005/8/layout/orgChart1"/>
    <dgm:cxn modelId="{B68C1E7F-2306-4BAD-93C4-5BAA36D15812}" type="presParOf" srcId="{5AD9586A-22ED-482B-AB10-96CE9308A8D1}" destId="{BC401DEC-D9EE-4A52-A4BF-CD5CF4CE95EB}" srcOrd="0" destOrd="0" presId="urn:microsoft.com/office/officeart/2005/8/layout/orgChart1"/>
    <dgm:cxn modelId="{F9B71188-6CEC-41ED-BE8C-0DB8E7269B5C}" type="presParOf" srcId="{BC401DEC-D9EE-4A52-A4BF-CD5CF4CE95EB}" destId="{A8A43A45-90AB-4F0B-9084-0D14C71D65E1}" srcOrd="0" destOrd="0" presId="urn:microsoft.com/office/officeart/2005/8/layout/orgChart1"/>
    <dgm:cxn modelId="{774BE688-3531-4607-8FF6-76148BD2EB74}" type="presParOf" srcId="{BC401DEC-D9EE-4A52-A4BF-CD5CF4CE95EB}" destId="{2C183873-6D40-4E8A-85C6-17B11FDDE65A}" srcOrd="1" destOrd="0" presId="urn:microsoft.com/office/officeart/2005/8/layout/orgChart1"/>
    <dgm:cxn modelId="{EE377399-4DBE-4AB0-AAD3-2672BC783E23}" type="presParOf" srcId="{5AD9586A-22ED-482B-AB10-96CE9308A8D1}" destId="{5021666D-94CC-42EC-8201-FC8D1D0E328B}" srcOrd="1" destOrd="0" presId="urn:microsoft.com/office/officeart/2005/8/layout/orgChart1"/>
    <dgm:cxn modelId="{00F36B58-B651-4EEE-A8B9-CF37BEC7FCAB}" type="presParOf" srcId="{5AD9586A-22ED-482B-AB10-96CE9308A8D1}" destId="{98B6BC08-FD7A-4592-83DE-B656F5E44A89}" srcOrd="2" destOrd="0" presId="urn:microsoft.com/office/officeart/2005/8/layout/orgChart1"/>
    <dgm:cxn modelId="{D294D968-208D-4282-86EA-66FEE9FE15AA}" type="presParOf" srcId="{CE602C07-2778-4BEB-9377-8EF46EEC3364}" destId="{9BB52E86-A6D3-49C2-97F6-2C4768AB09C8}" srcOrd="2" destOrd="0" presId="urn:microsoft.com/office/officeart/2005/8/layout/orgChart1"/>
    <dgm:cxn modelId="{F98D7162-C221-490E-8C36-6E47AFC8C57E}" type="presParOf" srcId="{CE602C07-2778-4BEB-9377-8EF46EEC3364}" destId="{15722F4A-64EC-41B1-A89F-7F50312897CB}" srcOrd="3" destOrd="0" presId="urn:microsoft.com/office/officeart/2005/8/layout/orgChart1"/>
    <dgm:cxn modelId="{3EFD8804-EE12-421E-8B49-146C91831FD1}" type="presParOf" srcId="{15722F4A-64EC-41B1-A89F-7F50312897CB}" destId="{704642B8-8C08-4A64-A891-EA2604FC6DCE}" srcOrd="0" destOrd="0" presId="urn:microsoft.com/office/officeart/2005/8/layout/orgChart1"/>
    <dgm:cxn modelId="{6749A98D-E655-458F-B076-CDC20BC30AFE}" type="presParOf" srcId="{704642B8-8C08-4A64-A891-EA2604FC6DCE}" destId="{BF4F725A-972C-4E98-BF9C-89D197DEB066}" srcOrd="0" destOrd="0" presId="urn:microsoft.com/office/officeart/2005/8/layout/orgChart1"/>
    <dgm:cxn modelId="{AD1201DC-167A-49C8-8C23-5C3D85FCB56B}" type="presParOf" srcId="{704642B8-8C08-4A64-A891-EA2604FC6DCE}" destId="{9215CBBE-094A-48EA-8204-7340B0644A41}" srcOrd="1" destOrd="0" presId="urn:microsoft.com/office/officeart/2005/8/layout/orgChart1"/>
    <dgm:cxn modelId="{C252A8AF-1842-467D-B293-C8E31D4C8B40}" type="presParOf" srcId="{15722F4A-64EC-41B1-A89F-7F50312897CB}" destId="{6D16C03C-8393-47FE-A73B-6E5C1457267B}" srcOrd="1" destOrd="0" presId="urn:microsoft.com/office/officeart/2005/8/layout/orgChart1"/>
    <dgm:cxn modelId="{29E039E8-CCA4-4631-A9C6-11AB05AE8564}" type="presParOf" srcId="{15722F4A-64EC-41B1-A89F-7F50312897CB}" destId="{F55F956D-EB59-4BE0-8593-EDF047D1ADED}" srcOrd="2" destOrd="0" presId="urn:microsoft.com/office/officeart/2005/8/layout/orgChart1"/>
    <dgm:cxn modelId="{627FFD97-3FA1-43F8-BC7F-F1607E861100}" type="presParOf" srcId="{DFA3A91B-E297-4234-BFEC-E07215C4A4F0}" destId="{5BC729F7-A32A-4515-A574-DFBC30FDA19B}" srcOrd="2" destOrd="0" presId="urn:microsoft.com/office/officeart/2005/8/layout/orgChart1"/>
    <dgm:cxn modelId="{0D65AE45-C4B7-4B15-BA69-2C7CC2136C90}" type="presParOf" srcId="{B3767120-1D84-4CBF-A42A-7963C47D4D0B}" destId="{04B36B14-FDED-4614-BB74-97EE5BB8F52D}" srcOrd="4" destOrd="0" presId="urn:microsoft.com/office/officeart/2005/8/layout/orgChart1"/>
    <dgm:cxn modelId="{CA30B9E4-D00B-4F37-B12D-94B44B4E97D3}" type="presParOf" srcId="{B3767120-1D84-4CBF-A42A-7963C47D4D0B}" destId="{106AC147-102C-49EA-AA5F-EF5284021786}" srcOrd="5" destOrd="0" presId="urn:microsoft.com/office/officeart/2005/8/layout/orgChart1"/>
    <dgm:cxn modelId="{1841EDF5-A9BC-4156-BBE4-D5B7C3A9E5D1}" type="presParOf" srcId="{106AC147-102C-49EA-AA5F-EF5284021786}" destId="{A185BBF1-A3C4-4167-BD2D-01117B8865F1}" srcOrd="0" destOrd="0" presId="urn:microsoft.com/office/officeart/2005/8/layout/orgChart1"/>
    <dgm:cxn modelId="{15CA7C13-37A1-4A02-B047-FE4F965115DA}" type="presParOf" srcId="{A185BBF1-A3C4-4167-BD2D-01117B8865F1}" destId="{6F5EABE9-ADCF-4968-81B3-04689CB922B9}" srcOrd="0" destOrd="0" presId="urn:microsoft.com/office/officeart/2005/8/layout/orgChart1"/>
    <dgm:cxn modelId="{6B530852-021B-4889-8B9B-2E8178BE5165}" type="presParOf" srcId="{A185BBF1-A3C4-4167-BD2D-01117B8865F1}" destId="{492EE907-4099-4D6E-8EF8-4A500681DBF1}" srcOrd="1" destOrd="0" presId="urn:microsoft.com/office/officeart/2005/8/layout/orgChart1"/>
    <dgm:cxn modelId="{0AF75155-0D03-4947-9D9E-71EA8C70E77B}" type="presParOf" srcId="{106AC147-102C-49EA-AA5F-EF5284021786}" destId="{604BD7F7-0389-4ECB-B419-E102FB55CEAC}" srcOrd="1" destOrd="0" presId="urn:microsoft.com/office/officeart/2005/8/layout/orgChart1"/>
    <dgm:cxn modelId="{1CE9BCEC-2F0B-4ECB-9216-31FD099FB7FC}" type="presParOf" srcId="{604BD7F7-0389-4ECB-B419-E102FB55CEAC}" destId="{EA7938CB-A733-44C1-A071-6CDE35869C6C}" srcOrd="0" destOrd="0" presId="urn:microsoft.com/office/officeart/2005/8/layout/orgChart1"/>
    <dgm:cxn modelId="{B49AAC6E-8316-4F5C-9058-8D7CC2C422DB}" type="presParOf" srcId="{604BD7F7-0389-4ECB-B419-E102FB55CEAC}" destId="{C9F3BD78-2D0F-4066-8C62-A4BEFC28C0D0}" srcOrd="1" destOrd="0" presId="urn:microsoft.com/office/officeart/2005/8/layout/orgChart1"/>
    <dgm:cxn modelId="{E23D895B-8BA8-46AD-841B-539928D2CD3B}" type="presParOf" srcId="{C9F3BD78-2D0F-4066-8C62-A4BEFC28C0D0}" destId="{2F419F38-8B4E-4E64-A62C-E8BE420A6A18}" srcOrd="0" destOrd="0" presId="urn:microsoft.com/office/officeart/2005/8/layout/orgChart1"/>
    <dgm:cxn modelId="{6CE81EBC-2813-4444-9F7B-038A161505FD}" type="presParOf" srcId="{2F419F38-8B4E-4E64-A62C-E8BE420A6A18}" destId="{77B0771F-7A97-4F55-B5C4-7CE3A24EA5FB}" srcOrd="0" destOrd="0" presId="urn:microsoft.com/office/officeart/2005/8/layout/orgChart1"/>
    <dgm:cxn modelId="{7697227B-4218-4C86-B3E3-50853E7A11C2}" type="presParOf" srcId="{2F419F38-8B4E-4E64-A62C-E8BE420A6A18}" destId="{3F7C118D-3B24-43E5-AF62-CC83C5D3392C}" srcOrd="1" destOrd="0" presId="urn:microsoft.com/office/officeart/2005/8/layout/orgChart1"/>
    <dgm:cxn modelId="{3A9C3661-1347-4A93-956B-8FB365667742}" type="presParOf" srcId="{C9F3BD78-2D0F-4066-8C62-A4BEFC28C0D0}" destId="{6C7F5E37-52AC-45D6-9664-BC3749591BBC}" srcOrd="1" destOrd="0" presId="urn:microsoft.com/office/officeart/2005/8/layout/orgChart1"/>
    <dgm:cxn modelId="{0DF762D3-1899-42F1-85FB-34E8AA54BEFE}" type="presParOf" srcId="{C9F3BD78-2D0F-4066-8C62-A4BEFC28C0D0}" destId="{FEFB6E19-5B2F-4FA2-B32C-4A76C28145E3}" srcOrd="2" destOrd="0" presId="urn:microsoft.com/office/officeart/2005/8/layout/orgChart1"/>
    <dgm:cxn modelId="{2FFE8FED-D4BF-4DF7-97D7-5D5121FA1D04}" type="presParOf" srcId="{604BD7F7-0389-4ECB-B419-E102FB55CEAC}" destId="{900AFB7F-2B1C-4F2F-90FD-534B3C5D185A}" srcOrd="2" destOrd="0" presId="urn:microsoft.com/office/officeart/2005/8/layout/orgChart1"/>
    <dgm:cxn modelId="{D9B3FA0F-0E12-4F52-8B52-EBEB9205228F}" type="presParOf" srcId="{604BD7F7-0389-4ECB-B419-E102FB55CEAC}" destId="{D2CE9645-9167-4CA8-9FAC-E5772265F1F1}" srcOrd="3" destOrd="0" presId="urn:microsoft.com/office/officeart/2005/8/layout/orgChart1"/>
    <dgm:cxn modelId="{1D5A2929-56DB-493E-A182-7628BE2A7BE2}" type="presParOf" srcId="{D2CE9645-9167-4CA8-9FAC-E5772265F1F1}" destId="{C62351E5-F559-42B9-866D-4EA52F6E0AC4}" srcOrd="0" destOrd="0" presId="urn:microsoft.com/office/officeart/2005/8/layout/orgChart1"/>
    <dgm:cxn modelId="{AD553E32-CAF8-4D7C-9787-5BE069F4F954}" type="presParOf" srcId="{C62351E5-F559-42B9-866D-4EA52F6E0AC4}" destId="{7F2C8B3F-CC73-4AF4-B493-142FDFBE4550}" srcOrd="0" destOrd="0" presId="urn:microsoft.com/office/officeart/2005/8/layout/orgChart1"/>
    <dgm:cxn modelId="{E4D048EC-216B-40E5-ACF3-9DF812928117}" type="presParOf" srcId="{C62351E5-F559-42B9-866D-4EA52F6E0AC4}" destId="{91F4DFD6-08F3-4398-8E0A-317B7ABFFAC4}" srcOrd="1" destOrd="0" presId="urn:microsoft.com/office/officeart/2005/8/layout/orgChart1"/>
    <dgm:cxn modelId="{ED2A265B-53E8-470A-B6DE-A42E0BE1CE03}" type="presParOf" srcId="{D2CE9645-9167-4CA8-9FAC-E5772265F1F1}" destId="{5A4AA5E7-9412-4F52-B3B0-D34C8376690E}" srcOrd="1" destOrd="0" presId="urn:microsoft.com/office/officeart/2005/8/layout/orgChart1"/>
    <dgm:cxn modelId="{1F2A6010-2D42-4D8C-91E2-3D632B4E83E9}" type="presParOf" srcId="{D2CE9645-9167-4CA8-9FAC-E5772265F1F1}" destId="{56D83448-7242-4F44-A164-1F2F2EA1B593}" srcOrd="2" destOrd="0" presId="urn:microsoft.com/office/officeart/2005/8/layout/orgChart1"/>
    <dgm:cxn modelId="{4887EF07-2210-46C0-8053-F3F7C338CB69}" type="presParOf" srcId="{604BD7F7-0389-4ECB-B419-E102FB55CEAC}" destId="{780BE9DB-483E-4D39-959E-0895D44A0731}" srcOrd="4" destOrd="0" presId="urn:microsoft.com/office/officeart/2005/8/layout/orgChart1"/>
    <dgm:cxn modelId="{B1F22E8A-4471-4E8E-8667-5F8F80DC6B05}" type="presParOf" srcId="{604BD7F7-0389-4ECB-B419-E102FB55CEAC}" destId="{460E50AD-5371-4F35-81B3-87C773ED6693}" srcOrd="5" destOrd="0" presId="urn:microsoft.com/office/officeart/2005/8/layout/orgChart1"/>
    <dgm:cxn modelId="{29E613A6-86C2-4D1C-9014-CF39AE73A205}" type="presParOf" srcId="{460E50AD-5371-4F35-81B3-87C773ED6693}" destId="{D9F28B0D-1A61-48BA-B550-A33256A06117}" srcOrd="0" destOrd="0" presId="urn:microsoft.com/office/officeart/2005/8/layout/orgChart1"/>
    <dgm:cxn modelId="{F578EE14-7111-4C34-9E79-30F4D3A365A1}" type="presParOf" srcId="{D9F28B0D-1A61-48BA-B550-A33256A06117}" destId="{A3E4031B-8BAB-4B77-A326-269F825A8EE1}" srcOrd="0" destOrd="0" presId="urn:microsoft.com/office/officeart/2005/8/layout/orgChart1"/>
    <dgm:cxn modelId="{87E34D96-39F2-4282-BCF6-B6916FDB2492}" type="presParOf" srcId="{D9F28B0D-1A61-48BA-B550-A33256A06117}" destId="{B9C07A85-7AF3-4DDB-BED5-54AAA28C4482}" srcOrd="1" destOrd="0" presId="urn:microsoft.com/office/officeart/2005/8/layout/orgChart1"/>
    <dgm:cxn modelId="{FBDEF4A0-11C1-4101-A02C-5E61E521F913}" type="presParOf" srcId="{460E50AD-5371-4F35-81B3-87C773ED6693}" destId="{07BC0911-8342-4145-9032-C569E224ADCB}" srcOrd="1" destOrd="0" presId="urn:microsoft.com/office/officeart/2005/8/layout/orgChart1"/>
    <dgm:cxn modelId="{3DA5168B-4436-4297-8D64-97F5B377135D}" type="presParOf" srcId="{460E50AD-5371-4F35-81B3-87C773ED6693}" destId="{0667F164-DD16-4F5D-93FD-59C74A5582C8}" srcOrd="2" destOrd="0" presId="urn:microsoft.com/office/officeart/2005/8/layout/orgChart1"/>
    <dgm:cxn modelId="{9711342F-626B-4EA8-96F2-69D07A619F03}" type="presParOf" srcId="{106AC147-102C-49EA-AA5F-EF5284021786}" destId="{DC47B5BE-0D25-4337-B97F-303E26D4FF58}" srcOrd="2" destOrd="0" presId="urn:microsoft.com/office/officeart/2005/8/layout/orgChart1"/>
    <dgm:cxn modelId="{533F49C4-0581-4610-8A34-1DB490B04002}" type="presParOf" srcId="{B3767120-1D84-4CBF-A42A-7963C47D4D0B}" destId="{5F47D1B7-7FC0-4977-A36D-AD556BFE552D}" srcOrd="6" destOrd="0" presId="urn:microsoft.com/office/officeart/2005/8/layout/orgChart1"/>
    <dgm:cxn modelId="{1D2AAF27-F603-4880-AE15-B2374FAA5B98}" type="presParOf" srcId="{B3767120-1D84-4CBF-A42A-7963C47D4D0B}" destId="{2E2A7E7A-5EBC-430D-A26F-3FA52B6EBC79}" srcOrd="7" destOrd="0" presId="urn:microsoft.com/office/officeart/2005/8/layout/orgChart1"/>
    <dgm:cxn modelId="{40FD04FB-CF74-48EF-86D1-11A9D893E8EC}" type="presParOf" srcId="{2E2A7E7A-5EBC-430D-A26F-3FA52B6EBC79}" destId="{A7B164EB-701D-49B6-B705-746E83900E04}" srcOrd="0" destOrd="0" presId="urn:microsoft.com/office/officeart/2005/8/layout/orgChart1"/>
    <dgm:cxn modelId="{F2B7ED2E-FC56-4764-B159-6358AD15DA2E}" type="presParOf" srcId="{A7B164EB-701D-49B6-B705-746E83900E04}" destId="{DCBFA766-EA63-4B1A-8B1A-B5ED05ED7FBD}" srcOrd="0" destOrd="0" presId="urn:microsoft.com/office/officeart/2005/8/layout/orgChart1"/>
    <dgm:cxn modelId="{39A2BBF5-2F2B-4AA4-817E-D0A405E34741}" type="presParOf" srcId="{A7B164EB-701D-49B6-B705-746E83900E04}" destId="{4ED0C4B9-8DD1-4D15-B333-B1B9A8F18D61}" srcOrd="1" destOrd="0" presId="urn:microsoft.com/office/officeart/2005/8/layout/orgChart1"/>
    <dgm:cxn modelId="{9A8CD45F-337E-423D-B2ED-AFF97A8809D8}" type="presParOf" srcId="{2E2A7E7A-5EBC-430D-A26F-3FA52B6EBC79}" destId="{49BB3847-DEAA-41EE-B9E0-0F68E4C5BDA4}" srcOrd="1" destOrd="0" presId="urn:microsoft.com/office/officeart/2005/8/layout/orgChart1"/>
    <dgm:cxn modelId="{FA7CD582-F2C1-42C6-B7AC-A6C339CCD8C7}" type="presParOf" srcId="{2E2A7E7A-5EBC-430D-A26F-3FA52B6EBC79}" destId="{11A9502F-3555-49FA-9D2C-158B16D1F66A}" srcOrd="2" destOrd="0" presId="urn:microsoft.com/office/officeart/2005/8/layout/orgChart1"/>
    <dgm:cxn modelId="{63999A6F-E262-456E-AF6A-830B280B74A9}" type="presParOf" srcId="{ADF78B51-FF65-46D3-95B4-403BD752DD8A}" destId="{A01BFD0A-DF36-4B6D-9BA0-3A05A52ED7B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AEB5C877-C77B-47BD-825A-482B3EB5DF5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030A46-7792-4815-B57B-046A07F0140A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VP Customer Experience</a:t>
          </a:r>
        </a:p>
        <a:p>
          <a:r>
            <a:rPr lang="en-US" sz="900" b="1" dirty="0">
              <a:solidFill>
                <a:schemeClr val="bg1"/>
              </a:solidFill>
            </a:rPr>
            <a:t>Kelly Sigmon</a:t>
          </a:r>
        </a:p>
      </dgm:t>
    </dgm:pt>
    <dgm:pt modelId="{93793C77-22A1-4452-AA5B-CD75C3A2088D}" type="parTrans" cxnId="{39718F2F-F1BB-4543-94B9-E375F01D123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3F7F991-0E15-4B2C-9412-38FC07AC3355}" type="sibTrans" cxnId="{39718F2F-F1BB-4543-94B9-E375F01D123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C4171510-A219-4D73-ABD0-9340201AB08B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VP Marketing</a:t>
          </a:r>
        </a:p>
        <a:p>
          <a:r>
            <a:rPr lang="en-US" sz="900" b="1" dirty="0">
              <a:solidFill>
                <a:schemeClr val="bg1"/>
              </a:solidFill>
            </a:rPr>
            <a:t>Sheila Holman</a:t>
          </a:r>
        </a:p>
      </dgm:t>
    </dgm:pt>
    <dgm:pt modelId="{C596D3E0-CF1C-4186-873C-266C0BDDA405}" type="parTrans" cxnId="{0C7711AA-3347-45A2-BD1F-7A8F83B66F66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55F7E4BD-CE46-4672-9F79-FC039A5ADB47}" type="sibTrans" cxnId="{0C7711AA-3347-45A2-BD1F-7A8F83B66F66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5AF2A20-742B-4B54-82EE-1A36C3C1A1C1}">
      <dgm:prSet phldrT="[Text]" custT="1"/>
      <dgm:spPr>
        <a:solidFill>
          <a:schemeClr val="accent6">
            <a:lumMod val="75000"/>
          </a:schemeClr>
        </a:solidFill>
        <a:ln w="38100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VP Sales</a:t>
          </a:r>
        </a:p>
        <a:p>
          <a:r>
            <a:rPr lang="en-US" sz="900" b="1" dirty="0">
              <a:solidFill>
                <a:schemeClr val="bg1"/>
              </a:solidFill>
            </a:rPr>
            <a:t>Christine Bailey</a:t>
          </a:r>
        </a:p>
      </dgm:t>
    </dgm:pt>
    <dgm:pt modelId="{DD5605C9-86D4-46AB-815E-97791D76E890}" type="parTrans" cxnId="{DDE97A23-B107-4301-843B-9FAB7A3824CE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DB2CF243-4E5E-43F5-BC45-86118435809D}" type="sibTrans" cxnId="{DDE97A23-B107-4301-843B-9FAB7A3824CE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35E0ECF-1473-4459-9782-B3BFD89D844B}">
      <dgm:prSet phldrT="[Text]" custT="1"/>
      <dgm:spPr>
        <a:solidFill>
          <a:schemeClr val="accent1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Chief Customer &amp; Marketing Officer</a:t>
          </a:r>
        </a:p>
        <a:p>
          <a:r>
            <a:rPr lang="en-US" sz="900" b="1" dirty="0">
              <a:solidFill>
                <a:schemeClr val="bg1"/>
              </a:solidFill>
            </a:rPr>
            <a:t>Steve Monteith</a:t>
          </a:r>
        </a:p>
      </dgm:t>
    </dgm:pt>
    <dgm:pt modelId="{90F12E4B-19E3-4560-90AB-454891BF7004}" type="parTrans" cxnId="{D9E37111-B8E5-4806-AAD1-7B9FA8B19E12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CF038FB-1CE1-4A98-8F2E-9A6C83F1B13E}" type="sibTrans" cxnId="{D9E37111-B8E5-4806-AAD1-7B9FA8B19E12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D9AFF782-FE71-42BB-99D0-C8D65EEC9AB8}">
      <dgm:prSet phldrT="[Text]" custT="1"/>
      <dgm:spPr>
        <a:solidFill>
          <a:schemeClr val="accent6">
            <a:lumMod val="75000"/>
          </a:schemeClr>
        </a:solidFill>
        <a:ln w="38100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VP Product Solutions</a:t>
          </a:r>
        </a:p>
        <a:p>
          <a:r>
            <a:rPr lang="en-US" sz="900" b="1" dirty="0">
              <a:solidFill>
                <a:schemeClr val="bg1"/>
              </a:solidFill>
            </a:rPr>
            <a:t>Thomas Foti</a:t>
          </a:r>
        </a:p>
      </dgm:t>
    </dgm:pt>
    <dgm:pt modelId="{CC20C97E-EFDD-4A67-821C-3B85E1B7A98A}" type="parTrans" cxnId="{180A7198-8CF4-4565-9B33-A7FE4FD6A189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9D23B64F-CF42-49F8-8317-84814164169C}" type="sibTrans" cxnId="{180A7198-8CF4-4565-9B33-A7FE4FD6A189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EB027484-7CEA-4CBE-BF58-C09DD2571399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Dir CCC</a:t>
          </a:r>
        </a:p>
        <a:p>
          <a:r>
            <a:rPr lang="en-US" sz="900" b="1" dirty="0">
              <a:solidFill>
                <a:schemeClr val="bg1"/>
              </a:solidFill>
            </a:rPr>
            <a:t>Sonja Twombly</a:t>
          </a:r>
        </a:p>
      </dgm:t>
    </dgm:pt>
    <dgm:pt modelId="{9F1142D6-E2EB-4B62-9657-E1BFD7D3F930}" type="parTrans" cxnId="{5DE9968B-CBA3-4207-95E2-F8184BAEC33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E2DFD20-B35C-4A34-A97B-6B21C5343AD5}" type="sibTrans" cxnId="{5DE9968B-CBA3-4207-95E2-F8184BAEC33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3F407392-4167-4C51-A077-D7329DB2CED1}">
      <dgm:prSet phldrT="[Text]" custT="1"/>
      <dgm:spPr>
        <a:solidFill>
          <a:schemeClr val="accent4">
            <a:lumMod val="50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kumimoji="0" lang="en-US" sz="900" b="0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rPr>
            <a:t>Consumer Advocate</a:t>
          </a:r>
        </a:p>
        <a:p>
          <a:r>
            <a:rPr kumimoji="0" lang="en-US" sz="900" b="1" i="0" u="none" strike="noStrike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rPr>
            <a:t>Nathan King</a:t>
          </a:r>
          <a:endParaRPr lang="en-US" sz="900" b="1" dirty="0">
            <a:solidFill>
              <a:schemeClr val="bg1"/>
            </a:solidFill>
            <a:latin typeface="+mn-lt"/>
          </a:endParaRPr>
        </a:p>
      </dgm:t>
    </dgm:pt>
    <dgm:pt modelId="{2B5C111A-46A9-4164-9BED-60CE7D0DEFD1}" type="parTrans" cxnId="{CB138089-4E9F-49D4-A965-67B2284B85F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32346728-CBD2-4171-9AB1-F5DFDB148C4F}" type="sibTrans" cxnId="{CB138089-4E9F-49D4-A965-67B2284B85F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3996FD5-4B24-43FC-9B73-EB82E12E15BD}">
      <dgm:prSet phldrT="[Text]" custT="1"/>
      <dgm:spPr>
        <a:solidFill>
          <a:schemeClr val="accent2">
            <a:lumMod val="50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Exec Dir Brand Marketing</a:t>
          </a:r>
        </a:p>
        <a:p>
          <a:r>
            <a:rPr lang="en-US" sz="900" b="1" dirty="0">
              <a:solidFill>
                <a:schemeClr val="bg1"/>
              </a:solidFill>
            </a:rPr>
            <a:t>Christopher Karpenko</a:t>
          </a:r>
        </a:p>
      </dgm:t>
    </dgm:pt>
    <dgm:pt modelId="{D31CC421-290B-41DD-B006-DFB813BBC81E}" type="parTrans" cxnId="{1A46E2A8-2BAF-4F06-BD1D-31E4878853E3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354B113F-3523-4050-AF52-AC08D8151D46}" type="sibTrans" cxnId="{1A46E2A8-2BAF-4F06-BD1D-31E4878853E3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B35741F1-64E8-425C-8768-F1973D6B9FCD}">
      <dgm:prSet phldrT="[Text]"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50" b="0" dirty="0">
              <a:solidFill>
                <a:schemeClr val="bg1"/>
              </a:solidFill>
            </a:rPr>
            <a:t>Mgr Industry Engagement &amp; Outreach</a:t>
          </a:r>
        </a:p>
        <a:p>
          <a:r>
            <a:rPr lang="en-US" sz="900" b="0" dirty="0">
              <a:solidFill>
                <a:schemeClr val="bg1"/>
              </a:solidFill>
            </a:rPr>
            <a:t>Judy de Torok</a:t>
          </a:r>
          <a:endParaRPr lang="en-US" sz="900" b="1" dirty="0">
            <a:solidFill>
              <a:schemeClr val="bg1"/>
            </a:solidFill>
          </a:endParaRPr>
        </a:p>
      </dgm:t>
    </dgm:pt>
    <dgm:pt modelId="{F7724F3E-23A6-4AE0-9E34-B131A4643726}" type="parTrans" cxnId="{0E72D436-B8EE-4BEE-AA3A-24FF9B25788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8B689FC8-9BB4-4215-BCC7-149B8015AFDB}" type="sibTrans" cxnId="{0E72D436-B8EE-4BEE-AA3A-24FF9B25788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4BA30C2-EE2A-4C06-9F5B-E5D4035B17CC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50" b="0" dirty="0">
              <a:solidFill>
                <a:schemeClr val="bg1"/>
              </a:solidFill>
            </a:rPr>
            <a:t>Dir Stamp Services/A</a:t>
          </a:r>
        </a:p>
        <a:p>
          <a:r>
            <a:rPr lang="en-US" sz="850" b="1" dirty="0">
              <a:solidFill>
                <a:schemeClr val="bg1"/>
              </a:solidFill>
            </a:rPr>
            <a:t>William Gicker Jr</a:t>
          </a:r>
          <a:endParaRPr lang="en-US" sz="900" b="1" dirty="0">
            <a:solidFill>
              <a:schemeClr val="bg1"/>
            </a:solidFill>
          </a:endParaRPr>
        </a:p>
      </dgm:t>
    </dgm:pt>
    <dgm:pt modelId="{C2BCB542-154D-41AA-BC2F-0175A751E962}" type="parTrans" cxnId="{CF994ADA-1817-41AD-A61F-47E09902D3D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ED78C04B-1E00-40C4-9DDF-16B2B13BAE0C}" type="sibTrans" cxnId="{CF994ADA-1817-41AD-A61F-47E09902D3D0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15F685F-1B97-4735-9D7D-F06EC3224C5B}">
      <dgm:prSet phldrT="[Text]" custT="1"/>
      <dgm:spPr>
        <a:solidFill>
          <a:schemeClr val="accent2">
            <a:lumMod val="50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r>
            <a:rPr lang="en-US" sz="900" dirty="0">
              <a:solidFill>
                <a:schemeClr val="bg1"/>
              </a:solidFill>
            </a:rPr>
            <a:t>Exec Dir Sales (National)/A</a:t>
          </a:r>
        </a:p>
        <a:p>
          <a:r>
            <a:rPr lang="en-US" sz="900" b="1" dirty="0">
              <a:solidFill>
                <a:schemeClr val="bg1"/>
              </a:solidFill>
            </a:rPr>
            <a:t>Anthony Gibson</a:t>
          </a:r>
        </a:p>
      </dgm:t>
    </dgm:pt>
    <dgm:pt modelId="{FD10F90F-B12D-4036-82A3-E1375D5847BB}" type="parTrans" cxnId="{323899A7-DC80-4FAC-8C77-2B5F7104424F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E45E934C-FA03-43C6-B0C5-1E366C0B57C1}" type="sibTrans" cxnId="{323899A7-DC80-4FAC-8C77-2B5F7104424F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145CDE4C-D961-40ED-AD5C-4F15CABC75FB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Dir Business Customer Intelligence/A</a:t>
          </a:r>
        </a:p>
        <a:p>
          <a:r>
            <a:rPr lang="en-US" sz="900" b="1" dirty="0">
              <a:solidFill>
                <a:schemeClr val="bg1"/>
              </a:solidFill>
            </a:rPr>
            <a:t>Kelvin Jackson</a:t>
          </a:r>
        </a:p>
      </dgm:t>
    </dgm:pt>
    <dgm:pt modelId="{D1F08918-E87A-4827-96EB-197E1D459CA4}" type="parTrans" cxnId="{E22470A6-5529-4624-AFED-C98CADA68AC1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4B760262-8528-4642-BF4B-1AE4691717F0}" type="sibTrans" cxnId="{E22470A6-5529-4624-AFED-C98CADA68AC1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8529EF1-C1C6-4CD6-BDBF-4ADB1B3719D4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Dir Enterprise Accounts</a:t>
          </a:r>
        </a:p>
        <a:p>
          <a:r>
            <a:rPr lang="en-US" sz="900" b="1" dirty="0">
              <a:solidFill>
                <a:schemeClr val="bg1"/>
              </a:solidFill>
            </a:rPr>
            <a:t>Jay Smith</a:t>
          </a:r>
        </a:p>
      </dgm:t>
    </dgm:pt>
    <dgm:pt modelId="{5CF60ADD-7448-4FA0-B129-3579EFE6BDBF}" type="parTrans" cxnId="{A61EE544-CE24-4F3B-A5CE-4C7D53B1251F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CE863CE-E8BB-4110-960E-C20F50638BCB}" type="sibTrans" cxnId="{A61EE544-CE24-4F3B-A5CE-4C7D53B1251F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C2E12818-6442-4FFE-AF51-2B8034F01904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Dir Strategic Accounts (National)</a:t>
          </a:r>
        </a:p>
        <a:p>
          <a:r>
            <a:rPr lang="en-US" sz="900" b="1" dirty="0">
              <a:solidFill>
                <a:schemeClr val="bg1"/>
              </a:solidFill>
            </a:rPr>
            <a:t>Coakley Workman</a:t>
          </a:r>
        </a:p>
      </dgm:t>
    </dgm:pt>
    <dgm:pt modelId="{90625E7B-6F51-44B8-8D09-1D1DDBA1196A}" type="parTrans" cxnId="{D3AAEC83-5813-43B3-AF2D-5B107DC95D7A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6B8352BC-7427-4B2E-83EE-9E00425E76A5}" type="sibTrans" cxnId="{D3AAEC83-5813-43B3-AF2D-5B107DC95D7A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111E18F4-EF8B-4472-A2D1-E52F7FB4758B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Dir Small Business Engagement</a:t>
          </a:r>
        </a:p>
        <a:p>
          <a:r>
            <a:rPr lang="en-US" sz="900" b="1" dirty="0">
              <a:solidFill>
                <a:schemeClr val="bg1"/>
              </a:solidFill>
            </a:rPr>
            <a:t>Mary Anderson</a:t>
          </a:r>
        </a:p>
      </dgm:t>
    </dgm:pt>
    <dgm:pt modelId="{868AF991-4EBE-4263-87F3-E67A2033B966}" type="parTrans" cxnId="{010821BD-9140-496C-B874-2845674FAE91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5A391C39-3151-4BBC-A20E-ACFFA20617ED}" type="sibTrans" cxnId="{010821BD-9140-496C-B874-2845674FAE91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C57E2B08-C14F-4730-8F05-46A4E50E07A4}">
      <dgm:prSet phldrT="[Text]" custT="1"/>
      <dgm:spPr>
        <a:solidFill>
          <a:schemeClr val="accent2">
            <a:lumMod val="50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Exec Dir Product    Management/A</a:t>
          </a:r>
        </a:p>
        <a:p>
          <a:r>
            <a:rPr lang="en-US" sz="900" b="1" dirty="0">
              <a:solidFill>
                <a:schemeClr val="bg1"/>
              </a:solidFill>
            </a:rPr>
            <a:t>Margaret Pepe</a:t>
          </a:r>
        </a:p>
      </dgm:t>
    </dgm:pt>
    <dgm:pt modelId="{C578214E-0A14-4CEF-9DE7-9D43947495E8}" type="parTrans" cxnId="{5DCEFA4E-474D-4641-B9A2-5EFB6814B5B9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BD763A0-B74E-43A3-82EC-2BE5ED2607C4}" type="sibTrans" cxnId="{5DCEFA4E-474D-4641-B9A2-5EFB6814B5B9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CCC1F36-2DB0-4F7B-B68E-5AD0930837A4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Dir Business Acceptance Solutions/A</a:t>
          </a:r>
        </a:p>
        <a:p>
          <a:r>
            <a:rPr lang="en-US" sz="900" b="1" dirty="0">
              <a:solidFill>
                <a:schemeClr val="bg1"/>
              </a:solidFill>
            </a:rPr>
            <a:t>Randy Workman</a:t>
          </a:r>
        </a:p>
      </dgm:t>
    </dgm:pt>
    <dgm:pt modelId="{35915763-0031-42C8-BC36-F3886FBA273E}" type="parTrans" cxnId="{AAB8B7B7-8B03-4579-878C-656416DE8E0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7B49983-6680-407F-B5BF-DF132722C100}" type="sibTrans" cxnId="{AAB8B7B7-8B03-4579-878C-656416DE8E0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DAE2CEBD-542D-43AB-BA07-6EFDDF5C6135}">
      <dgm:prSet phldrT="[Text]"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Mgr Pricing &amp; Classification Service Ctr</a:t>
          </a:r>
        </a:p>
        <a:p>
          <a:r>
            <a:rPr lang="en-US" sz="900" b="1" dirty="0">
              <a:solidFill>
                <a:schemeClr val="bg1"/>
              </a:solidFill>
            </a:rPr>
            <a:t>Charles Tricamo</a:t>
          </a:r>
        </a:p>
      </dgm:t>
    </dgm:pt>
    <dgm:pt modelId="{7EEEA0F8-229D-441F-9E5A-7A6022DD9844}" type="parTrans" cxnId="{773ACF13-72DD-4E44-A744-86AE58E32183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B2CE2347-CD23-4E77-8EE2-A3E9E5D45FDC}" type="sibTrans" cxnId="{773ACF13-72DD-4E44-A744-86AE58E32183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AC41667-D540-428A-8E75-4A12EB13EC01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Dir Commercial Acceptance/A</a:t>
          </a:r>
        </a:p>
        <a:p>
          <a:r>
            <a:rPr lang="en-US" sz="900" b="1" dirty="0">
              <a:solidFill>
                <a:schemeClr val="bg1"/>
              </a:solidFill>
            </a:rPr>
            <a:t>Diane Smith</a:t>
          </a:r>
        </a:p>
      </dgm:t>
    </dgm:pt>
    <dgm:pt modelId="{05D21AD6-D91C-4DBF-A630-E8D733B7496D}" type="parTrans" cxnId="{B6FF9D55-E477-448C-B6E8-53F9A17F7A45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8512352E-4EB2-420B-AB9F-AE13563EBE33}" type="sibTrans" cxnId="{B6FF9D55-E477-448C-B6E8-53F9A17F7A45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6DBB3597-3C04-4049-92F1-06AFC741A484}">
      <dgm:prSet phldrT="[Text]"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Mgr Product  Classification</a:t>
          </a:r>
        </a:p>
        <a:p>
          <a:r>
            <a:rPr lang="en-US" sz="900" b="1" dirty="0">
              <a:solidFill>
                <a:schemeClr val="bg1"/>
              </a:solidFill>
            </a:rPr>
            <a:t>Dale Kennedy</a:t>
          </a:r>
        </a:p>
      </dgm:t>
    </dgm:pt>
    <dgm:pt modelId="{BD54E422-EC94-4558-9536-4F99BD20C32B}" type="parTrans" cxnId="{199E3F01-772A-4A2B-A5BF-23D4A0D8AAF4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DF6B88A1-65D4-4CD1-B63A-DB42E49B80BF}" type="sibTrans" cxnId="{199E3F01-772A-4A2B-A5BF-23D4A0D8AAF4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55D3AE3F-3FF9-459E-AA41-4FFD3A4B530A}">
      <dgm:prSet phldrT="[Text]" custT="1"/>
      <dgm:spPr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r>
            <a:rPr lang="en-US" sz="900" b="0" kern="1200" dirty="0">
              <a:solidFill>
                <a:schemeClr val="bg1"/>
              </a:solidFill>
            </a:rPr>
            <a:t>Dir Customer Experience &amp; Strategy</a:t>
          </a:r>
        </a:p>
        <a:p>
          <a:r>
            <a:rPr lang="en-US" sz="900" b="1" kern="1200" dirty="0">
              <a:solidFill>
                <a:schemeClr val="bg1"/>
              </a:solidFill>
            </a:rPr>
            <a:t>Imelda Bruce</a:t>
          </a:r>
        </a:p>
      </dgm:t>
    </dgm:pt>
    <dgm:pt modelId="{33A946CB-810B-4292-955D-3DF60C7CCC01}" type="parTrans" cxnId="{8487FF88-8AF7-4784-B911-F74341B0E40A}">
      <dgm:prSet/>
      <dgm:spPr/>
      <dgm:t>
        <a:bodyPr/>
        <a:lstStyle/>
        <a:p>
          <a:endParaRPr lang="en-US" sz="900"/>
        </a:p>
      </dgm:t>
    </dgm:pt>
    <dgm:pt modelId="{32DB0A79-289B-4BA9-9212-0AFD503BC2FE}" type="sibTrans" cxnId="{8487FF88-8AF7-4784-B911-F74341B0E40A}">
      <dgm:prSet/>
      <dgm:spPr/>
      <dgm:t>
        <a:bodyPr/>
        <a:lstStyle/>
        <a:p>
          <a:endParaRPr lang="en-US" sz="900"/>
        </a:p>
      </dgm:t>
    </dgm:pt>
    <dgm:pt modelId="{20CC2F9B-2AC1-41C0-8F2C-5CD29F3C72C0}">
      <dgm:prSet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Dir National Business Alliances</a:t>
          </a:r>
        </a:p>
        <a:p>
          <a:r>
            <a:rPr lang="en-US" sz="900" b="1" dirty="0">
              <a:solidFill>
                <a:schemeClr val="bg1"/>
              </a:solidFill>
            </a:rPr>
            <a:t>James McNally</a:t>
          </a:r>
          <a:endParaRPr lang="en-US" sz="900" dirty="0">
            <a:solidFill>
              <a:schemeClr val="bg1"/>
            </a:solidFill>
          </a:endParaRPr>
        </a:p>
      </dgm:t>
    </dgm:pt>
    <dgm:pt modelId="{4546BF59-9C3D-4813-AD80-8A61F5FF118F}" type="parTrans" cxnId="{3D65BDB1-CCCE-4B59-A7FC-CCEFA3D7A551}">
      <dgm:prSet/>
      <dgm:spPr/>
      <dgm:t>
        <a:bodyPr/>
        <a:lstStyle/>
        <a:p>
          <a:endParaRPr lang="en-US" sz="900"/>
        </a:p>
      </dgm:t>
    </dgm:pt>
    <dgm:pt modelId="{BC97DFB3-A646-490C-B296-B67CE502B0D9}" type="sibTrans" cxnId="{3D65BDB1-CCCE-4B59-A7FC-CCEFA3D7A551}">
      <dgm:prSet/>
      <dgm:spPr/>
      <dgm:t>
        <a:bodyPr/>
        <a:lstStyle/>
        <a:p>
          <a:endParaRPr lang="en-US" sz="900"/>
        </a:p>
      </dgm:t>
    </dgm:pt>
    <dgm:pt modelId="{E0C8FDBA-B4E1-45BE-A37A-379EA81D0B74}">
      <dgm:prSet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Mgr Business Customer Support and Services</a:t>
          </a:r>
        </a:p>
        <a:p>
          <a:r>
            <a:rPr lang="en-US" sz="900" b="1" dirty="0">
              <a:solidFill>
                <a:schemeClr val="bg1"/>
              </a:solidFill>
            </a:rPr>
            <a:t>Thomas Hughes</a:t>
          </a:r>
          <a:endParaRPr lang="en-US" sz="900" dirty="0">
            <a:solidFill>
              <a:schemeClr val="bg1"/>
            </a:solidFill>
          </a:endParaRPr>
        </a:p>
      </dgm:t>
    </dgm:pt>
    <dgm:pt modelId="{A599DC65-17C4-4309-B525-B55BF1A64FEF}" type="parTrans" cxnId="{B580B70F-AE73-4035-B61F-AB3A27666F92}">
      <dgm:prSet/>
      <dgm:spPr/>
      <dgm:t>
        <a:bodyPr/>
        <a:lstStyle/>
        <a:p>
          <a:endParaRPr lang="en-US" sz="900"/>
        </a:p>
      </dgm:t>
    </dgm:pt>
    <dgm:pt modelId="{386B6EEA-5D74-4A40-8E7D-FD2626CA5FAB}" type="sibTrans" cxnId="{B580B70F-AE73-4035-B61F-AB3A27666F92}">
      <dgm:prSet/>
      <dgm:spPr/>
      <dgm:t>
        <a:bodyPr/>
        <a:lstStyle/>
        <a:p>
          <a:endParaRPr lang="en-US" sz="900"/>
        </a:p>
      </dgm:t>
    </dgm:pt>
    <dgm:pt modelId="{6BCD56A0-6A2A-4E24-B6A7-EF760C57C846}">
      <dgm:prSet custT="1"/>
      <dgm:spPr>
        <a:solidFill>
          <a:schemeClr val="accent2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Dir Innovation</a:t>
          </a:r>
        </a:p>
        <a:p>
          <a:r>
            <a:rPr lang="en-US" sz="900" b="1" dirty="0"/>
            <a:t>Kriti Vichare</a:t>
          </a:r>
        </a:p>
      </dgm:t>
    </dgm:pt>
    <dgm:pt modelId="{2334290E-A2FB-4F3C-938D-9625B8A51122}" type="parTrans" cxnId="{8A853267-24DE-4230-80A1-1B0047E806B5}">
      <dgm:prSet/>
      <dgm:spPr/>
      <dgm:t>
        <a:bodyPr/>
        <a:lstStyle/>
        <a:p>
          <a:endParaRPr lang="en-US"/>
        </a:p>
      </dgm:t>
    </dgm:pt>
    <dgm:pt modelId="{63242704-AC4E-4112-9A3A-8DDE3E5ADB12}" type="sibTrans" cxnId="{8A853267-24DE-4230-80A1-1B0047E806B5}">
      <dgm:prSet/>
      <dgm:spPr/>
      <dgm:t>
        <a:bodyPr/>
        <a:lstStyle/>
        <a:p>
          <a:endParaRPr lang="en-US"/>
        </a:p>
      </dgm:t>
    </dgm:pt>
    <dgm:pt modelId="{82E631FE-C6FC-45C6-9490-9C8D2921429C}">
      <dgm:prSet custT="1"/>
      <dgm:spPr>
        <a:solidFill>
          <a:schemeClr val="accent4">
            <a:lumMod val="75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/>
            <a:t>Managing Dir Global Business </a:t>
          </a:r>
        </a:p>
        <a:p>
          <a:r>
            <a:rPr lang="en-US" sz="900" b="1" dirty="0"/>
            <a:t>Robert Raines Jr</a:t>
          </a:r>
        </a:p>
      </dgm:t>
    </dgm:pt>
    <dgm:pt modelId="{1AC3F2D8-4A98-4BDB-98DE-2F0F7CA3C62C}" type="parTrans" cxnId="{0BB40366-D9A7-46A4-9891-10646C79B532}">
      <dgm:prSet/>
      <dgm:spPr/>
      <dgm:t>
        <a:bodyPr/>
        <a:lstStyle/>
        <a:p>
          <a:endParaRPr lang="en-US"/>
        </a:p>
      </dgm:t>
    </dgm:pt>
    <dgm:pt modelId="{8CF148D7-ACE2-470F-8E76-3C213A378A74}" type="sibTrans" cxnId="{0BB40366-D9A7-46A4-9891-10646C79B532}">
      <dgm:prSet/>
      <dgm:spPr/>
      <dgm:t>
        <a:bodyPr/>
        <a:lstStyle/>
        <a:p>
          <a:endParaRPr lang="en-US"/>
        </a:p>
      </dgm:t>
    </dgm:pt>
    <dgm:pt modelId="{008A9A80-BD13-446C-833B-2B197FFBA9AB}" type="pres">
      <dgm:prSet presAssocID="{AEB5C877-C77B-47BD-825A-482B3EB5DF5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DF78B51-FF65-46D3-95B4-403BD752DD8A}" type="pres">
      <dgm:prSet presAssocID="{735E0ECF-1473-4459-9782-B3BFD89D844B}" presName="hierRoot1" presStyleCnt="0">
        <dgm:presLayoutVars>
          <dgm:hierBranch val="init"/>
        </dgm:presLayoutVars>
      </dgm:prSet>
      <dgm:spPr/>
    </dgm:pt>
    <dgm:pt modelId="{D1481A51-9A8E-4E3F-ACFE-BBFBAA069003}" type="pres">
      <dgm:prSet presAssocID="{735E0ECF-1473-4459-9782-B3BFD89D844B}" presName="rootComposite1" presStyleCnt="0"/>
      <dgm:spPr/>
    </dgm:pt>
    <dgm:pt modelId="{608CB659-20FB-4FD5-BD59-4EDC1CFD706A}" type="pres">
      <dgm:prSet presAssocID="{735E0ECF-1473-4459-9782-B3BFD89D844B}" presName="rootText1" presStyleLbl="node0" presStyleIdx="0" presStyleCnt="1" custScaleX="120179" custScaleY="119941">
        <dgm:presLayoutVars>
          <dgm:chPref val="3"/>
        </dgm:presLayoutVars>
      </dgm:prSet>
      <dgm:spPr/>
    </dgm:pt>
    <dgm:pt modelId="{663788D1-3B8C-4438-98A1-293F772704C9}" type="pres">
      <dgm:prSet presAssocID="{735E0ECF-1473-4459-9782-B3BFD89D844B}" presName="rootConnector1" presStyleLbl="node1" presStyleIdx="0" presStyleCnt="0"/>
      <dgm:spPr/>
    </dgm:pt>
    <dgm:pt modelId="{B3767120-1D84-4CBF-A42A-7963C47D4D0B}" type="pres">
      <dgm:prSet presAssocID="{735E0ECF-1473-4459-9782-B3BFD89D844B}" presName="hierChild2" presStyleCnt="0"/>
      <dgm:spPr/>
    </dgm:pt>
    <dgm:pt modelId="{AA2C4414-7EF3-4BAE-A19E-E52D628B3FAE}" type="pres">
      <dgm:prSet presAssocID="{93793C77-22A1-4452-AA5B-CD75C3A2088D}" presName="Name37" presStyleLbl="parChTrans1D2" presStyleIdx="0" presStyleCnt="5"/>
      <dgm:spPr/>
    </dgm:pt>
    <dgm:pt modelId="{6387B0E3-D0C5-444F-9B93-1D720208E895}" type="pres">
      <dgm:prSet presAssocID="{5D030A46-7792-4815-B57B-046A07F0140A}" presName="hierRoot2" presStyleCnt="0">
        <dgm:presLayoutVars>
          <dgm:hierBranch val="hang"/>
        </dgm:presLayoutVars>
      </dgm:prSet>
      <dgm:spPr/>
    </dgm:pt>
    <dgm:pt modelId="{12FC5992-2B6A-4B44-9993-4ACF04F605A0}" type="pres">
      <dgm:prSet presAssocID="{5D030A46-7792-4815-B57B-046A07F0140A}" presName="rootComposite" presStyleCnt="0"/>
      <dgm:spPr/>
    </dgm:pt>
    <dgm:pt modelId="{AC5FF851-1189-4F95-8351-A97A476B2246}" type="pres">
      <dgm:prSet presAssocID="{5D030A46-7792-4815-B57B-046A07F0140A}" presName="rootText" presStyleLbl="node2" presStyleIdx="0" presStyleCnt="5" custLinFactNeighborX="3912" custLinFactNeighborY="10011">
        <dgm:presLayoutVars>
          <dgm:chPref val="3"/>
        </dgm:presLayoutVars>
      </dgm:prSet>
      <dgm:spPr/>
    </dgm:pt>
    <dgm:pt modelId="{2FD465CE-D641-4F07-9394-155CB7FBF3F3}" type="pres">
      <dgm:prSet presAssocID="{5D030A46-7792-4815-B57B-046A07F0140A}" presName="rootConnector" presStyleLbl="node2" presStyleIdx="0" presStyleCnt="5"/>
      <dgm:spPr/>
    </dgm:pt>
    <dgm:pt modelId="{C59FB238-8008-4F2B-BC0E-E3651B88BA6C}" type="pres">
      <dgm:prSet presAssocID="{5D030A46-7792-4815-B57B-046A07F0140A}" presName="hierChild4" presStyleCnt="0"/>
      <dgm:spPr/>
    </dgm:pt>
    <dgm:pt modelId="{6C54FE7E-1514-4596-B8CE-BCE54D5A582E}" type="pres">
      <dgm:prSet presAssocID="{9F1142D6-E2EB-4B62-9657-E1BFD7D3F930}" presName="Name48" presStyleLbl="parChTrans1D3" presStyleIdx="0" presStyleCnt="19"/>
      <dgm:spPr/>
    </dgm:pt>
    <dgm:pt modelId="{7D945FEB-5361-4AD6-B303-4D1323345AFD}" type="pres">
      <dgm:prSet presAssocID="{EB027484-7CEA-4CBE-BF58-C09DD2571399}" presName="hierRoot2" presStyleCnt="0">
        <dgm:presLayoutVars>
          <dgm:hierBranch val="hang"/>
        </dgm:presLayoutVars>
      </dgm:prSet>
      <dgm:spPr/>
    </dgm:pt>
    <dgm:pt modelId="{91AB74F7-9E90-4010-8B4C-0DCFF9C74B1D}" type="pres">
      <dgm:prSet presAssocID="{EB027484-7CEA-4CBE-BF58-C09DD2571399}" presName="rootComposite" presStyleCnt="0"/>
      <dgm:spPr/>
    </dgm:pt>
    <dgm:pt modelId="{857E5E5B-C52C-4438-9D5D-D1C33F85DC46}" type="pres">
      <dgm:prSet presAssocID="{EB027484-7CEA-4CBE-BF58-C09DD2571399}" presName="rootText" presStyleLbl="node3" presStyleIdx="0" presStyleCnt="19" custLinFactNeighborX="10127" custLinFactNeighborY="8889">
        <dgm:presLayoutVars>
          <dgm:chPref val="3"/>
        </dgm:presLayoutVars>
      </dgm:prSet>
      <dgm:spPr/>
    </dgm:pt>
    <dgm:pt modelId="{116439AF-00EB-4779-BBCF-EF4570381522}" type="pres">
      <dgm:prSet presAssocID="{EB027484-7CEA-4CBE-BF58-C09DD2571399}" presName="rootConnector" presStyleLbl="node3" presStyleIdx="0" presStyleCnt="19"/>
      <dgm:spPr/>
    </dgm:pt>
    <dgm:pt modelId="{B26C6A3D-750B-4C7E-86F3-4CA28EA85EAB}" type="pres">
      <dgm:prSet presAssocID="{EB027484-7CEA-4CBE-BF58-C09DD2571399}" presName="hierChild4" presStyleCnt="0"/>
      <dgm:spPr/>
    </dgm:pt>
    <dgm:pt modelId="{5D7DF315-D2F7-466C-B680-AD076590EABC}" type="pres">
      <dgm:prSet presAssocID="{EB027484-7CEA-4CBE-BF58-C09DD2571399}" presName="hierChild5" presStyleCnt="0"/>
      <dgm:spPr/>
    </dgm:pt>
    <dgm:pt modelId="{DC8B994C-FFB3-4EA3-9D85-F30443BCB270}" type="pres">
      <dgm:prSet presAssocID="{2B5C111A-46A9-4164-9BED-60CE7D0DEFD1}" presName="Name48" presStyleLbl="parChTrans1D3" presStyleIdx="1" presStyleCnt="19"/>
      <dgm:spPr/>
    </dgm:pt>
    <dgm:pt modelId="{A6B72F75-1778-48C5-A7E9-D7A3B9D90F78}" type="pres">
      <dgm:prSet presAssocID="{3F407392-4167-4C51-A077-D7329DB2CED1}" presName="hierRoot2" presStyleCnt="0">
        <dgm:presLayoutVars>
          <dgm:hierBranch val="hang"/>
        </dgm:presLayoutVars>
      </dgm:prSet>
      <dgm:spPr/>
    </dgm:pt>
    <dgm:pt modelId="{1E726FA3-AA1F-4DCD-A8E2-057242DC7FA1}" type="pres">
      <dgm:prSet presAssocID="{3F407392-4167-4C51-A077-D7329DB2CED1}" presName="rootComposite" presStyleCnt="0"/>
      <dgm:spPr/>
    </dgm:pt>
    <dgm:pt modelId="{36764980-1D1F-4C31-B763-CBCF535AD06A}" type="pres">
      <dgm:prSet presAssocID="{3F407392-4167-4C51-A077-D7329DB2CED1}" presName="rootText" presStyleLbl="node3" presStyleIdx="1" presStyleCnt="19" custScaleY="99317" custLinFactNeighborX="7029" custLinFactNeighborY="9888">
        <dgm:presLayoutVars>
          <dgm:chPref val="3"/>
        </dgm:presLayoutVars>
      </dgm:prSet>
      <dgm:spPr/>
    </dgm:pt>
    <dgm:pt modelId="{7530D462-01FB-4E6D-9118-B2167C4604DC}" type="pres">
      <dgm:prSet presAssocID="{3F407392-4167-4C51-A077-D7329DB2CED1}" presName="rootConnector" presStyleLbl="node3" presStyleIdx="1" presStyleCnt="19"/>
      <dgm:spPr/>
    </dgm:pt>
    <dgm:pt modelId="{4AB6EF25-E66F-46AD-95C6-385EADF81F8B}" type="pres">
      <dgm:prSet presAssocID="{3F407392-4167-4C51-A077-D7329DB2CED1}" presName="hierChild4" presStyleCnt="0"/>
      <dgm:spPr/>
    </dgm:pt>
    <dgm:pt modelId="{5DF0331A-8663-4F66-8867-F68E8D34C331}" type="pres">
      <dgm:prSet presAssocID="{3F407392-4167-4C51-A077-D7329DB2CED1}" presName="hierChild5" presStyleCnt="0"/>
      <dgm:spPr/>
    </dgm:pt>
    <dgm:pt modelId="{C795F404-0DA7-405E-81AE-25EEDEC41780}" type="pres">
      <dgm:prSet presAssocID="{33A946CB-810B-4292-955D-3DF60C7CCC01}" presName="Name48" presStyleLbl="parChTrans1D3" presStyleIdx="2" presStyleCnt="19"/>
      <dgm:spPr/>
    </dgm:pt>
    <dgm:pt modelId="{AD200E74-53F1-4DB5-A570-0CC6F572A8D1}" type="pres">
      <dgm:prSet presAssocID="{55D3AE3F-3FF9-459E-AA41-4FFD3A4B530A}" presName="hierRoot2" presStyleCnt="0">
        <dgm:presLayoutVars>
          <dgm:hierBranch val="init"/>
        </dgm:presLayoutVars>
      </dgm:prSet>
      <dgm:spPr/>
    </dgm:pt>
    <dgm:pt modelId="{163ED4A3-4445-4E21-A75C-652C052FCCD5}" type="pres">
      <dgm:prSet presAssocID="{55D3AE3F-3FF9-459E-AA41-4FFD3A4B530A}" presName="rootComposite" presStyleCnt="0"/>
      <dgm:spPr/>
    </dgm:pt>
    <dgm:pt modelId="{F721A2C3-B74E-4B93-9D96-D10D55204BB2}" type="pres">
      <dgm:prSet presAssocID="{55D3AE3F-3FF9-459E-AA41-4FFD3A4B530A}" presName="rootText" presStyleLbl="node3" presStyleIdx="2" presStyleCnt="19" custLinFactNeighborX="9277" custLinFactNeighborY="7875">
        <dgm:presLayoutVars>
          <dgm:chPref val="3"/>
        </dgm:presLayoutVars>
      </dgm:prSet>
      <dgm:spPr>
        <a:xfrm>
          <a:off x="330" y="3268512"/>
          <a:ext cx="1271062" cy="635531"/>
        </a:xfrm>
        <a:prstGeom prst="rect">
          <a:avLst/>
        </a:prstGeom>
      </dgm:spPr>
    </dgm:pt>
    <dgm:pt modelId="{84E38710-D049-4F4F-A352-B9C5CABE829D}" type="pres">
      <dgm:prSet presAssocID="{55D3AE3F-3FF9-459E-AA41-4FFD3A4B530A}" presName="rootConnector" presStyleLbl="node3" presStyleIdx="2" presStyleCnt="19"/>
      <dgm:spPr/>
    </dgm:pt>
    <dgm:pt modelId="{BC99E0E4-716F-410A-8A0F-C2B90704E717}" type="pres">
      <dgm:prSet presAssocID="{55D3AE3F-3FF9-459E-AA41-4FFD3A4B530A}" presName="hierChild4" presStyleCnt="0"/>
      <dgm:spPr/>
    </dgm:pt>
    <dgm:pt modelId="{2FF64663-7584-420A-AF91-2063BCE1A82C}" type="pres">
      <dgm:prSet presAssocID="{55D3AE3F-3FF9-459E-AA41-4FFD3A4B530A}" presName="hierChild5" presStyleCnt="0"/>
      <dgm:spPr/>
    </dgm:pt>
    <dgm:pt modelId="{8349AF55-683F-4F61-A046-C0C13CC76D05}" type="pres">
      <dgm:prSet presAssocID="{5D030A46-7792-4815-B57B-046A07F0140A}" presName="hierChild5" presStyleCnt="0"/>
      <dgm:spPr/>
    </dgm:pt>
    <dgm:pt modelId="{2D62CCC2-632D-47CD-A6FB-AF9328D9C4C3}" type="pres">
      <dgm:prSet presAssocID="{C596D3E0-CF1C-4186-873C-266C0BDDA405}" presName="Name37" presStyleLbl="parChTrans1D2" presStyleIdx="1" presStyleCnt="5"/>
      <dgm:spPr/>
    </dgm:pt>
    <dgm:pt modelId="{DFA3A91B-E297-4234-BFEC-E07215C4A4F0}" type="pres">
      <dgm:prSet presAssocID="{C4171510-A219-4D73-ABD0-9340201AB08B}" presName="hierRoot2" presStyleCnt="0">
        <dgm:presLayoutVars>
          <dgm:hierBranch val="hang"/>
        </dgm:presLayoutVars>
      </dgm:prSet>
      <dgm:spPr/>
    </dgm:pt>
    <dgm:pt modelId="{09E9B259-37C6-4DAC-B977-55FDCFAE76AB}" type="pres">
      <dgm:prSet presAssocID="{C4171510-A219-4D73-ABD0-9340201AB08B}" presName="rootComposite" presStyleCnt="0"/>
      <dgm:spPr/>
    </dgm:pt>
    <dgm:pt modelId="{43FE5B09-28AC-4B39-BFE9-1C78BB5E9846}" type="pres">
      <dgm:prSet presAssocID="{C4171510-A219-4D73-ABD0-9340201AB08B}" presName="rootText" presStyleLbl="node2" presStyleIdx="1" presStyleCnt="5" custLinFactNeighborX="3912" custLinFactNeighborY="10011">
        <dgm:presLayoutVars>
          <dgm:chPref val="3"/>
        </dgm:presLayoutVars>
      </dgm:prSet>
      <dgm:spPr/>
    </dgm:pt>
    <dgm:pt modelId="{71D9930B-3E8E-46AF-9F9D-50C9E28A14EA}" type="pres">
      <dgm:prSet presAssocID="{C4171510-A219-4D73-ABD0-9340201AB08B}" presName="rootConnector" presStyleLbl="node2" presStyleIdx="1" presStyleCnt="5"/>
      <dgm:spPr/>
    </dgm:pt>
    <dgm:pt modelId="{CE602C07-2778-4BEB-9377-8EF46EEC3364}" type="pres">
      <dgm:prSet presAssocID="{C4171510-A219-4D73-ABD0-9340201AB08B}" presName="hierChild4" presStyleCnt="0"/>
      <dgm:spPr/>
    </dgm:pt>
    <dgm:pt modelId="{F3A6A1AF-C065-491A-9B9F-6AC6C886A573}" type="pres">
      <dgm:prSet presAssocID="{D31CC421-290B-41DD-B006-DFB813BBC81E}" presName="Name48" presStyleLbl="parChTrans1D3" presStyleIdx="3" presStyleCnt="19"/>
      <dgm:spPr/>
    </dgm:pt>
    <dgm:pt modelId="{5AD9586A-22ED-482B-AB10-96CE9308A8D1}" type="pres">
      <dgm:prSet presAssocID="{A3996FD5-4B24-43FC-9B73-EB82E12E15BD}" presName="hierRoot2" presStyleCnt="0">
        <dgm:presLayoutVars>
          <dgm:hierBranch val="hang"/>
        </dgm:presLayoutVars>
      </dgm:prSet>
      <dgm:spPr/>
    </dgm:pt>
    <dgm:pt modelId="{BC401DEC-D9EE-4A52-A4BF-CD5CF4CE95EB}" type="pres">
      <dgm:prSet presAssocID="{A3996FD5-4B24-43FC-9B73-EB82E12E15BD}" presName="rootComposite" presStyleCnt="0"/>
      <dgm:spPr/>
    </dgm:pt>
    <dgm:pt modelId="{A8A43A45-90AB-4F0B-9084-0D14C71D65E1}" type="pres">
      <dgm:prSet presAssocID="{A3996FD5-4B24-43FC-9B73-EB82E12E15BD}" presName="rootText" presStyleLbl="node3" presStyleIdx="3" presStyleCnt="19" custLinFactNeighborX="5135" custLinFactNeighborY="11030">
        <dgm:presLayoutVars>
          <dgm:chPref val="3"/>
        </dgm:presLayoutVars>
      </dgm:prSet>
      <dgm:spPr/>
    </dgm:pt>
    <dgm:pt modelId="{2C183873-6D40-4E8A-85C6-17B11FDDE65A}" type="pres">
      <dgm:prSet presAssocID="{A3996FD5-4B24-43FC-9B73-EB82E12E15BD}" presName="rootConnector" presStyleLbl="node3" presStyleIdx="3" presStyleCnt="19"/>
      <dgm:spPr/>
    </dgm:pt>
    <dgm:pt modelId="{5021666D-94CC-42EC-8201-FC8D1D0E328B}" type="pres">
      <dgm:prSet presAssocID="{A3996FD5-4B24-43FC-9B73-EB82E12E15BD}" presName="hierChild4" presStyleCnt="0"/>
      <dgm:spPr/>
    </dgm:pt>
    <dgm:pt modelId="{98B6BC08-FD7A-4592-83DE-B656F5E44A89}" type="pres">
      <dgm:prSet presAssocID="{A3996FD5-4B24-43FC-9B73-EB82E12E15BD}" presName="hierChild5" presStyleCnt="0"/>
      <dgm:spPr/>
    </dgm:pt>
    <dgm:pt modelId="{4C203ED4-6493-487D-88B2-D43CA89A714C}" type="pres">
      <dgm:prSet presAssocID="{F7724F3E-23A6-4AE0-9E34-B131A4643726}" presName="Name48" presStyleLbl="parChTrans1D3" presStyleIdx="4" presStyleCnt="19"/>
      <dgm:spPr/>
    </dgm:pt>
    <dgm:pt modelId="{009DFB59-F6FC-441E-A568-A553B94CC9C6}" type="pres">
      <dgm:prSet presAssocID="{B35741F1-64E8-425C-8768-F1973D6B9FCD}" presName="hierRoot2" presStyleCnt="0">
        <dgm:presLayoutVars>
          <dgm:hierBranch val="hang"/>
        </dgm:presLayoutVars>
      </dgm:prSet>
      <dgm:spPr/>
    </dgm:pt>
    <dgm:pt modelId="{E8118F91-3129-4A17-BAF4-8FEB49368EE0}" type="pres">
      <dgm:prSet presAssocID="{B35741F1-64E8-425C-8768-F1973D6B9FCD}" presName="rootComposite" presStyleCnt="0"/>
      <dgm:spPr/>
    </dgm:pt>
    <dgm:pt modelId="{18F5216A-D74D-45D9-8EB3-3C45223454C9}" type="pres">
      <dgm:prSet presAssocID="{B35741F1-64E8-425C-8768-F1973D6B9FCD}" presName="rootText" presStyleLbl="node3" presStyleIdx="4" presStyleCnt="19" custLinFactNeighborX="693" custLinFactNeighborY="11030">
        <dgm:presLayoutVars>
          <dgm:chPref val="3"/>
        </dgm:presLayoutVars>
      </dgm:prSet>
      <dgm:spPr/>
    </dgm:pt>
    <dgm:pt modelId="{5F232BDD-EEA6-4F5D-A6CC-275A9E5D3873}" type="pres">
      <dgm:prSet presAssocID="{B35741F1-64E8-425C-8768-F1973D6B9FCD}" presName="rootConnector" presStyleLbl="node3" presStyleIdx="4" presStyleCnt="19"/>
      <dgm:spPr/>
    </dgm:pt>
    <dgm:pt modelId="{A3B50B12-D250-49E7-A2FA-7E84645D48B9}" type="pres">
      <dgm:prSet presAssocID="{B35741F1-64E8-425C-8768-F1973D6B9FCD}" presName="hierChild4" presStyleCnt="0"/>
      <dgm:spPr/>
    </dgm:pt>
    <dgm:pt modelId="{75B866EA-8F3B-4F0C-AC85-B5DDD3C05A5B}" type="pres">
      <dgm:prSet presAssocID="{B35741F1-64E8-425C-8768-F1973D6B9FCD}" presName="hierChild5" presStyleCnt="0"/>
      <dgm:spPr/>
    </dgm:pt>
    <dgm:pt modelId="{A4260DFB-585E-4A73-816C-F9AEEDDA9394}" type="pres">
      <dgm:prSet presAssocID="{C2BCB542-154D-41AA-BC2F-0175A751E962}" presName="Name48" presStyleLbl="parChTrans1D3" presStyleIdx="5" presStyleCnt="19"/>
      <dgm:spPr/>
    </dgm:pt>
    <dgm:pt modelId="{65359CC4-1199-40A6-9A5D-E339CCE06195}" type="pres">
      <dgm:prSet presAssocID="{A4BA30C2-EE2A-4C06-9F5B-E5D4035B17CC}" presName="hierRoot2" presStyleCnt="0">
        <dgm:presLayoutVars>
          <dgm:hierBranch val="hang"/>
        </dgm:presLayoutVars>
      </dgm:prSet>
      <dgm:spPr/>
    </dgm:pt>
    <dgm:pt modelId="{685BD7F1-E41B-4D8B-83BF-47C6EAEA87D0}" type="pres">
      <dgm:prSet presAssocID="{A4BA30C2-EE2A-4C06-9F5B-E5D4035B17CC}" presName="rootComposite" presStyleCnt="0"/>
      <dgm:spPr/>
    </dgm:pt>
    <dgm:pt modelId="{93931096-6600-46C3-98DA-74AC02AC0B71}" type="pres">
      <dgm:prSet presAssocID="{A4BA30C2-EE2A-4C06-9F5B-E5D4035B17CC}" presName="rootText" presStyleLbl="node3" presStyleIdx="5" presStyleCnt="19" custLinFactNeighborX="693" custLinFactNeighborY="-1081">
        <dgm:presLayoutVars>
          <dgm:chPref val="3"/>
        </dgm:presLayoutVars>
      </dgm:prSet>
      <dgm:spPr/>
    </dgm:pt>
    <dgm:pt modelId="{FCDEEE3A-FB67-4F1F-BECE-E1F592365CFC}" type="pres">
      <dgm:prSet presAssocID="{A4BA30C2-EE2A-4C06-9F5B-E5D4035B17CC}" presName="rootConnector" presStyleLbl="node3" presStyleIdx="5" presStyleCnt="19"/>
      <dgm:spPr/>
    </dgm:pt>
    <dgm:pt modelId="{02632E63-6953-4BBB-9358-D0D0A0F62BB7}" type="pres">
      <dgm:prSet presAssocID="{A4BA30C2-EE2A-4C06-9F5B-E5D4035B17CC}" presName="hierChild4" presStyleCnt="0"/>
      <dgm:spPr/>
    </dgm:pt>
    <dgm:pt modelId="{6356888D-CFDB-4DAB-958C-0207B0E8E05F}" type="pres">
      <dgm:prSet presAssocID="{A4BA30C2-EE2A-4C06-9F5B-E5D4035B17CC}" presName="hierChild5" presStyleCnt="0"/>
      <dgm:spPr/>
    </dgm:pt>
    <dgm:pt modelId="{30705EA0-ACCA-48DF-9172-3EAFB681551B}" type="pres">
      <dgm:prSet presAssocID="{2334290E-A2FB-4F3C-938D-9625B8A51122}" presName="Name48" presStyleLbl="parChTrans1D3" presStyleIdx="6" presStyleCnt="19"/>
      <dgm:spPr/>
    </dgm:pt>
    <dgm:pt modelId="{37F39EB6-834B-47FA-85AD-D68D6FA4FB7A}" type="pres">
      <dgm:prSet presAssocID="{6BCD56A0-6A2A-4E24-B6A7-EF760C57C846}" presName="hierRoot2" presStyleCnt="0">
        <dgm:presLayoutVars>
          <dgm:hierBranch val="init"/>
        </dgm:presLayoutVars>
      </dgm:prSet>
      <dgm:spPr/>
    </dgm:pt>
    <dgm:pt modelId="{A86C9141-103E-4B35-A9CF-76FFA2072822}" type="pres">
      <dgm:prSet presAssocID="{6BCD56A0-6A2A-4E24-B6A7-EF760C57C846}" presName="rootComposite" presStyleCnt="0"/>
      <dgm:spPr/>
    </dgm:pt>
    <dgm:pt modelId="{0D06EEA7-4445-454A-8592-5674FAFF84D6}" type="pres">
      <dgm:prSet presAssocID="{6BCD56A0-6A2A-4E24-B6A7-EF760C57C846}" presName="rootText" presStyleLbl="node3" presStyleIdx="6" presStyleCnt="19" custScaleY="94864" custLinFactNeighborX="5365" custLinFactNeighborY="850">
        <dgm:presLayoutVars>
          <dgm:chPref val="3"/>
        </dgm:presLayoutVars>
      </dgm:prSet>
      <dgm:spPr/>
    </dgm:pt>
    <dgm:pt modelId="{5D863696-ABCE-44D8-BBCB-6DA27C55A5D2}" type="pres">
      <dgm:prSet presAssocID="{6BCD56A0-6A2A-4E24-B6A7-EF760C57C846}" presName="rootConnector" presStyleLbl="node3" presStyleIdx="6" presStyleCnt="19"/>
      <dgm:spPr/>
    </dgm:pt>
    <dgm:pt modelId="{8B746174-9CF3-40B7-8971-987D0D31D16C}" type="pres">
      <dgm:prSet presAssocID="{6BCD56A0-6A2A-4E24-B6A7-EF760C57C846}" presName="hierChild4" presStyleCnt="0"/>
      <dgm:spPr/>
    </dgm:pt>
    <dgm:pt modelId="{B207795B-2F0A-41F3-A23F-D11411165198}" type="pres">
      <dgm:prSet presAssocID="{6BCD56A0-6A2A-4E24-B6A7-EF760C57C846}" presName="hierChild5" presStyleCnt="0"/>
      <dgm:spPr/>
    </dgm:pt>
    <dgm:pt modelId="{5BC729F7-A32A-4515-A574-DFBC30FDA19B}" type="pres">
      <dgm:prSet presAssocID="{C4171510-A219-4D73-ABD0-9340201AB08B}" presName="hierChild5" presStyleCnt="0"/>
      <dgm:spPr/>
    </dgm:pt>
    <dgm:pt modelId="{04B36B14-FDED-4614-BB74-97EE5BB8F52D}" type="pres">
      <dgm:prSet presAssocID="{DD5605C9-86D4-46AB-815E-97791D76E890}" presName="Name37" presStyleLbl="parChTrans1D2" presStyleIdx="2" presStyleCnt="5"/>
      <dgm:spPr/>
    </dgm:pt>
    <dgm:pt modelId="{106AC147-102C-49EA-AA5F-EF5284021786}" type="pres">
      <dgm:prSet presAssocID="{25AF2A20-742B-4B54-82EE-1A36C3C1A1C1}" presName="hierRoot2" presStyleCnt="0">
        <dgm:presLayoutVars>
          <dgm:hierBranch val="hang"/>
        </dgm:presLayoutVars>
      </dgm:prSet>
      <dgm:spPr/>
    </dgm:pt>
    <dgm:pt modelId="{A185BBF1-A3C4-4167-BD2D-01117B8865F1}" type="pres">
      <dgm:prSet presAssocID="{25AF2A20-742B-4B54-82EE-1A36C3C1A1C1}" presName="rootComposite" presStyleCnt="0"/>
      <dgm:spPr/>
    </dgm:pt>
    <dgm:pt modelId="{6F5EABE9-ADCF-4968-81B3-04689CB922B9}" type="pres">
      <dgm:prSet presAssocID="{25AF2A20-742B-4B54-82EE-1A36C3C1A1C1}" presName="rootText" presStyleLbl="node2" presStyleIdx="2" presStyleCnt="5" custLinFactNeighborX="3912" custLinFactNeighborY="10011">
        <dgm:presLayoutVars>
          <dgm:chPref val="3"/>
        </dgm:presLayoutVars>
      </dgm:prSet>
      <dgm:spPr/>
    </dgm:pt>
    <dgm:pt modelId="{492EE907-4099-4D6E-8EF8-4A500681DBF1}" type="pres">
      <dgm:prSet presAssocID="{25AF2A20-742B-4B54-82EE-1A36C3C1A1C1}" presName="rootConnector" presStyleLbl="node2" presStyleIdx="2" presStyleCnt="5"/>
      <dgm:spPr/>
    </dgm:pt>
    <dgm:pt modelId="{604BD7F7-0389-4ECB-B419-E102FB55CEAC}" type="pres">
      <dgm:prSet presAssocID="{25AF2A20-742B-4B54-82EE-1A36C3C1A1C1}" presName="hierChild4" presStyleCnt="0"/>
      <dgm:spPr/>
    </dgm:pt>
    <dgm:pt modelId="{EA7938CB-A733-44C1-A071-6CDE35869C6C}" type="pres">
      <dgm:prSet presAssocID="{FD10F90F-B12D-4036-82A3-E1375D5847BB}" presName="Name48" presStyleLbl="parChTrans1D3" presStyleIdx="7" presStyleCnt="19"/>
      <dgm:spPr/>
    </dgm:pt>
    <dgm:pt modelId="{C9F3BD78-2D0F-4066-8C62-A4BEFC28C0D0}" type="pres">
      <dgm:prSet presAssocID="{715F685F-1B97-4735-9D7D-F06EC3224C5B}" presName="hierRoot2" presStyleCnt="0">
        <dgm:presLayoutVars>
          <dgm:hierBranch val="hang"/>
        </dgm:presLayoutVars>
      </dgm:prSet>
      <dgm:spPr/>
    </dgm:pt>
    <dgm:pt modelId="{2F419F38-8B4E-4E64-A62C-E8BE420A6A18}" type="pres">
      <dgm:prSet presAssocID="{715F685F-1B97-4735-9D7D-F06EC3224C5B}" presName="rootComposite" presStyleCnt="0"/>
      <dgm:spPr/>
    </dgm:pt>
    <dgm:pt modelId="{77B0771F-7A97-4F55-B5C4-7CE3A24EA5FB}" type="pres">
      <dgm:prSet presAssocID="{715F685F-1B97-4735-9D7D-F06EC3224C5B}" presName="rootText" presStyleLbl="node3" presStyleIdx="7" presStyleCnt="19" custLinFactNeighborX="7508" custLinFactNeighborY="11030">
        <dgm:presLayoutVars>
          <dgm:chPref val="3"/>
        </dgm:presLayoutVars>
      </dgm:prSet>
      <dgm:spPr>
        <a:xfrm>
          <a:off x="5810204" y="2408043"/>
          <a:ext cx="1125955" cy="562977"/>
        </a:xfrm>
        <a:prstGeom prst="rect">
          <a:avLst/>
        </a:prstGeom>
      </dgm:spPr>
    </dgm:pt>
    <dgm:pt modelId="{3F7C118D-3B24-43E5-AF62-CC83C5D3392C}" type="pres">
      <dgm:prSet presAssocID="{715F685F-1B97-4735-9D7D-F06EC3224C5B}" presName="rootConnector" presStyleLbl="node3" presStyleIdx="7" presStyleCnt="19"/>
      <dgm:spPr/>
    </dgm:pt>
    <dgm:pt modelId="{6C7F5E37-52AC-45D6-9664-BC3749591BBC}" type="pres">
      <dgm:prSet presAssocID="{715F685F-1B97-4735-9D7D-F06EC3224C5B}" presName="hierChild4" presStyleCnt="0"/>
      <dgm:spPr/>
    </dgm:pt>
    <dgm:pt modelId="{FEFB6E19-5B2F-4FA2-B32C-4A76C28145E3}" type="pres">
      <dgm:prSet presAssocID="{715F685F-1B97-4735-9D7D-F06EC3224C5B}" presName="hierChild5" presStyleCnt="0"/>
      <dgm:spPr/>
    </dgm:pt>
    <dgm:pt modelId="{900AFB7F-2B1C-4F2F-90FD-534B3C5D185A}" type="pres">
      <dgm:prSet presAssocID="{868AF991-4EBE-4263-87F3-E67A2033B966}" presName="Name48" presStyleLbl="parChTrans1D3" presStyleIdx="8" presStyleCnt="19"/>
      <dgm:spPr/>
    </dgm:pt>
    <dgm:pt modelId="{D2CE9645-9167-4CA8-9FAC-E5772265F1F1}" type="pres">
      <dgm:prSet presAssocID="{111E18F4-EF8B-4472-A2D1-E52F7FB4758B}" presName="hierRoot2" presStyleCnt="0">
        <dgm:presLayoutVars>
          <dgm:hierBranch val="hang"/>
        </dgm:presLayoutVars>
      </dgm:prSet>
      <dgm:spPr/>
    </dgm:pt>
    <dgm:pt modelId="{C62351E5-F559-42B9-866D-4EA52F6E0AC4}" type="pres">
      <dgm:prSet presAssocID="{111E18F4-EF8B-4472-A2D1-E52F7FB4758B}" presName="rootComposite" presStyleCnt="0"/>
      <dgm:spPr/>
    </dgm:pt>
    <dgm:pt modelId="{7F2C8B3F-CC73-4AF4-B493-142FDFBE4550}" type="pres">
      <dgm:prSet presAssocID="{111E18F4-EF8B-4472-A2D1-E52F7FB4758B}" presName="rootText" presStyleLbl="node3" presStyleIdx="8" presStyleCnt="19" custLinFactNeighborX="1379" custLinFactNeighborY="11030">
        <dgm:presLayoutVars>
          <dgm:chPref val="3"/>
        </dgm:presLayoutVars>
      </dgm:prSet>
      <dgm:spPr/>
    </dgm:pt>
    <dgm:pt modelId="{91F4DFD6-08F3-4398-8E0A-317B7ABFFAC4}" type="pres">
      <dgm:prSet presAssocID="{111E18F4-EF8B-4472-A2D1-E52F7FB4758B}" presName="rootConnector" presStyleLbl="node3" presStyleIdx="8" presStyleCnt="19"/>
      <dgm:spPr/>
    </dgm:pt>
    <dgm:pt modelId="{5A4AA5E7-9412-4F52-B3B0-D34C8376690E}" type="pres">
      <dgm:prSet presAssocID="{111E18F4-EF8B-4472-A2D1-E52F7FB4758B}" presName="hierChild4" presStyleCnt="0"/>
      <dgm:spPr/>
    </dgm:pt>
    <dgm:pt modelId="{56D83448-7242-4F44-A164-1F2F2EA1B593}" type="pres">
      <dgm:prSet presAssocID="{111E18F4-EF8B-4472-A2D1-E52F7FB4758B}" presName="hierChild5" presStyleCnt="0"/>
      <dgm:spPr/>
    </dgm:pt>
    <dgm:pt modelId="{1679F611-1768-4DF1-92D2-2ABA33F52954}" type="pres">
      <dgm:prSet presAssocID="{D1F08918-E87A-4827-96EB-197E1D459CA4}" presName="Name48" presStyleLbl="parChTrans1D3" presStyleIdx="9" presStyleCnt="19"/>
      <dgm:spPr/>
    </dgm:pt>
    <dgm:pt modelId="{3EB3B2BF-83E3-43EC-8B4A-22E5A8006260}" type="pres">
      <dgm:prSet presAssocID="{145CDE4C-D961-40ED-AD5C-4F15CABC75FB}" presName="hierRoot2" presStyleCnt="0">
        <dgm:presLayoutVars>
          <dgm:hierBranch val="hang"/>
        </dgm:presLayoutVars>
      </dgm:prSet>
      <dgm:spPr/>
    </dgm:pt>
    <dgm:pt modelId="{AF597625-1C9B-4EFB-89C7-964B32D14CF1}" type="pres">
      <dgm:prSet presAssocID="{145CDE4C-D961-40ED-AD5C-4F15CABC75FB}" presName="rootComposite" presStyleCnt="0"/>
      <dgm:spPr/>
    </dgm:pt>
    <dgm:pt modelId="{BC6D9694-E2FB-466A-9121-F6DA2CA4E423}" type="pres">
      <dgm:prSet presAssocID="{145CDE4C-D961-40ED-AD5C-4F15CABC75FB}" presName="rootText" presStyleLbl="node3" presStyleIdx="9" presStyleCnt="19" custLinFactNeighborX="1223" custLinFactNeighborY="8889">
        <dgm:presLayoutVars>
          <dgm:chPref val="3"/>
        </dgm:presLayoutVars>
      </dgm:prSet>
      <dgm:spPr/>
    </dgm:pt>
    <dgm:pt modelId="{ED85CF53-B366-40FC-A1B2-AC0A7E230913}" type="pres">
      <dgm:prSet presAssocID="{145CDE4C-D961-40ED-AD5C-4F15CABC75FB}" presName="rootConnector" presStyleLbl="node3" presStyleIdx="9" presStyleCnt="19"/>
      <dgm:spPr/>
    </dgm:pt>
    <dgm:pt modelId="{516CA77B-2490-4C12-BE3E-3D3BE5F54CF1}" type="pres">
      <dgm:prSet presAssocID="{145CDE4C-D961-40ED-AD5C-4F15CABC75FB}" presName="hierChild4" presStyleCnt="0"/>
      <dgm:spPr/>
    </dgm:pt>
    <dgm:pt modelId="{0992B6CE-88A6-4CA3-BBCB-69055B955878}" type="pres">
      <dgm:prSet presAssocID="{145CDE4C-D961-40ED-AD5C-4F15CABC75FB}" presName="hierChild5" presStyleCnt="0"/>
      <dgm:spPr/>
    </dgm:pt>
    <dgm:pt modelId="{9546EDD2-AE2D-4CCC-A153-7110360B9BEC}" type="pres">
      <dgm:prSet presAssocID="{5CF60ADD-7448-4FA0-B129-3579EFE6BDBF}" presName="Name48" presStyleLbl="parChTrans1D3" presStyleIdx="10" presStyleCnt="19"/>
      <dgm:spPr/>
    </dgm:pt>
    <dgm:pt modelId="{9FE3402F-57AD-46ED-9414-75CC69E8BB3C}" type="pres">
      <dgm:prSet presAssocID="{78529EF1-C1C6-4CD6-BDBF-4ADB1B3719D4}" presName="hierRoot2" presStyleCnt="0">
        <dgm:presLayoutVars>
          <dgm:hierBranch val="hang"/>
        </dgm:presLayoutVars>
      </dgm:prSet>
      <dgm:spPr/>
    </dgm:pt>
    <dgm:pt modelId="{8C2A3C82-3AAD-41A6-82CB-8B35916F6F8D}" type="pres">
      <dgm:prSet presAssocID="{78529EF1-C1C6-4CD6-BDBF-4ADB1B3719D4}" presName="rootComposite" presStyleCnt="0"/>
      <dgm:spPr/>
    </dgm:pt>
    <dgm:pt modelId="{34C6C65D-2FB2-4BC6-85E7-4981197D899A}" type="pres">
      <dgm:prSet presAssocID="{78529EF1-C1C6-4CD6-BDBF-4ADB1B3719D4}" presName="rootText" presStyleLbl="node3" presStyleIdx="10" presStyleCnt="19" custLinFactNeighborX="2633" custLinFactNeighborY="9646">
        <dgm:presLayoutVars>
          <dgm:chPref val="3"/>
        </dgm:presLayoutVars>
      </dgm:prSet>
      <dgm:spPr/>
    </dgm:pt>
    <dgm:pt modelId="{D9F8732B-C34D-4E46-89C0-591665126EF3}" type="pres">
      <dgm:prSet presAssocID="{78529EF1-C1C6-4CD6-BDBF-4ADB1B3719D4}" presName="rootConnector" presStyleLbl="node3" presStyleIdx="10" presStyleCnt="19"/>
      <dgm:spPr/>
    </dgm:pt>
    <dgm:pt modelId="{1E256350-75A4-4879-934C-E6C51E7ACD72}" type="pres">
      <dgm:prSet presAssocID="{78529EF1-C1C6-4CD6-BDBF-4ADB1B3719D4}" presName="hierChild4" presStyleCnt="0"/>
      <dgm:spPr/>
    </dgm:pt>
    <dgm:pt modelId="{23AD8370-2A2A-4C04-815A-4FA7C374EABB}" type="pres">
      <dgm:prSet presAssocID="{78529EF1-C1C6-4CD6-BDBF-4ADB1B3719D4}" presName="hierChild5" presStyleCnt="0"/>
      <dgm:spPr/>
    </dgm:pt>
    <dgm:pt modelId="{9F09995D-9ADF-410B-B9C8-980791CB2CCA}" type="pres">
      <dgm:prSet presAssocID="{90625E7B-6F51-44B8-8D09-1D1DDBA1196A}" presName="Name48" presStyleLbl="parChTrans1D3" presStyleIdx="11" presStyleCnt="19"/>
      <dgm:spPr/>
    </dgm:pt>
    <dgm:pt modelId="{729C1684-45D7-415C-807D-87B4138A02A2}" type="pres">
      <dgm:prSet presAssocID="{C2E12818-6442-4FFE-AF51-2B8034F01904}" presName="hierRoot2" presStyleCnt="0">
        <dgm:presLayoutVars>
          <dgm:hierBranch val="hang"/>
        </dgm:presLayoutVars>
      </dgm:prSet>
      <dgm:spPr/>
    </dgm:pt>
    <dgm:pt modelId="{B6553E9A-67F4-47BD-B1CA-34EA958D6C88}" type="pres">
      <dgm:prSet presAssocID="{C2E12818-6442-4FFE-AF51-2B8034F01904}" presName="rootComposite" presStyleCnt="0"/>
      <dgm:spPr/>
    </dgm:pt>
    <dgm:pt modelId="{9B3E7BAB-573F-4360-9513-1138FF22520D}" type="pres">
      <dgm:prSet presAssocID="{C2E12818-6442-4FFE-AF51-2B8034F01904}" presName="rootText" presStyleLbl="node3" presStyleIdx="11" presStyleCnt="19" custLinFactNeighborX="-692" custLinFactNeighborY="19432">
        <dgm:presLayoutVars>
          <dgm:chPref val="3"/>
        </dgm:presLayoutVars>
      </dgm:prSet>
      <dgm:spPr/>
    </dgm:pt>
    <dgm:pt modelId="{3A7E4F99-5702-44D9-A6EF-995F4A043CF2}" type="pres">
      <dgm:prSet presAssocID="{C2E12818-6442-4FFE-AF51-2B8034F01904}" presName="rootConnector" presStyleLbl="node3" presStyleIdx="11" presStyleCnt="19"/>
      <dgm:spPr/>
    </dgm:pt>
    <dgm:pt modelId="{2A79C507-D6EF-446C-AE25-810C09200218}" type="pres">
      <dgm:prSet presAssocID="{C2E12818-6442-4FFE-AF51-2B8034F01904}" presName="hierChild4" presStyleCnt="0"/>
      <dgm:spPr/>
    </dgm:pt>
    <dgm:pt modelId="{F38401C1-EF18-4082-BEE1-17349386AA67}" type="pres">
      <dgm:prSet presAssocID="{C2E12818-6442-4FFE-AF51-2B8034F01904}" presName="hierChild5" presStyleCnt="0"/>
      <dgm:spPr/>
    </dgm:pt>
    <dgm:pt modelId="{65B3E0A9-DA86-4F99-8CB2-5CBC406D00D0}" type="pres">
      <dgm:prSet presAssocID="{4546BF59-9C3D-4813-AD80-8A61F5FF118F}" presName="Name48" presStyleLbl="parChTrans1D3" presStyleIdx="12" presStyleCnt="19"/>
      <dgm:spPr/>
    </dgm:pt>
    <dgm:pt modelId="{05CC4B54-A44D-4D30-A37A-71F387F6A9E3}" type="pres">
      <dgm:prSet presAssocID="{20CC2F9B-2AC1-41C0-8F2C-5CD29F3C72C0}" presName="hierRoot2" presStyleCnt="0">
        <dgm:presLayoutVars>
          <dgm:hierBranch val="init"/>
        </dgm:presLayoutVars>
      </dgm:prSet>
      <dgm:spPr/>
    </dgm:pt>
    <dgm:pt modelId="{A1CD1966-B9FE-496D-9344-1E7F97D1AD4F}" type="pres">
      <dgm:prSet presAssocID="{20CC2F9B-2AC1-41C0-8F2C-5CD29F3C72C0}" presName="rootComposite" presStyleCnt="0"/>
      <dgm:spPr/>
    </dgm:pt>
    <dgm:pt modelId="{4736FCD0-8E0A-4FF6-8C5C-59C75434551D}" type="pres">
      <dgm:prSet presAssocID="{20CC2F9B-2AC1-41C0-8F2C-5CD29F3C72C0}" presName="rootText" presStyleLbl="node3" presStyleIdx="12" presStyleCnt="19" custLinFactNeighborY="19914">
        <dgm:presLayoutVars>
          <dgm:chPref val="3"/>
        </dgm:presLayoutVars>
      </dgm:prSet>
      <dgm:spPr/>
    </dgm:pt>
    <dgm:pt modelId="{C3B918D2-E499-4DBC-900C-84E3AC5CDE48}" type="pres">
      <dgm:prSet presAssocID="{20CC2F9B-2AC1-41C0-8F2C-5CD29F3C72C0}" presName="rootConnector" presStyleLbl="node3" presStyleIdx="12" presStyleCnt="19"/>
      <dgm:spPr/>
    </dgm:pt>
    <dgm:pt modelId="{DD04CD6B-D03F-448A-AEE7-55DDEBC12BDB}" type="pres">
      <dgm:prSet presAssocID="{20CC2F9B-2AC1-41C0-8F2C-5CD29F3C72C0}" presName="hierChild4" presStyleCnt="0"/>
      <dgm:spPr/>
    </dgm:pt>
    <dgm:pt modelId="{447B34DF-AC27-4485-A80F-86FDAAE3279A}" type="pres">
      <dgm:prSet presAssocID="{20CC2F9B-2AC1-41C0-8F2C-5CD29F3C72C0}" presName="hierChild5" presStyleCnt="0"/>
      <dgm:spPr/>
    </dgm:pt>
    <dgm:pt modelId="{D3F60D4C-C526-4F49-B3E8-E06249817A96}" type="pres">
      <dgm:prSet presAssocID="{A599DC65-17C4-4309-B525-B55BF1A64FEF}" presName="Name48" presStyleLbl="parChTrans1D3" presStyleIdx="13" presStyleCnt="19"/>
      <dgm:spPr/>
    </dgm:pt>
    <dgm:pt modelId="{F0FB2EC2-5AD6-4985-99EC-24D8DC193210}" type="pres">
      <dgm:prSet presAssocID="{E0C8FDBA-B4E1-45BE-A37A-379EA81D0B74}" presName="hierRoot2" presStyleCnt="0">
        <dgm:presLayoutVars>
          <dgm:hierBranch val="init"/>
        </dgm:presLayoutVars>
      </dgm:prSet>
      <dgm:spPr/>
    </dgm:pt>
    <dgm:pt modelId="{CD5E9326-C3AC-48C3-B196-E2187E415D87}" type="pres">
      <dgm:prSet presAssocID="{E0C8FDBA-B4E1-45BE-A37A-379EA81D0B74}" presName="rootComposite" presStyleCnt="0"/>
      <dgm:spPr/>
    </dgm:pt>
    <dgm:pt modelId="{18490A3D-7561-4C91-B5F4-2BA7B9B60576}" type="pres">
      <dgm:prSet presAssocID="{E0C8FDBA-B4E1-45BE-A37A-379EA81D0B74}" presName="rootText" presStyleLbl="node3" presStyleIdx="13" presStyleCnt="19" custLinFactNeighborX="-692" custLinFactNeighborY="0">
        <dgm:presLayoutVars>
          <dgm:chPref val="3"/>
        </dgm:presLayoutVars>
      </dgm:prSet>
      <dgm:spPr/>
    </dgm:pt>
    <dgm:pt modelId="{50ACBF04-6546-4760-80CE-4526632FA21F}" type="pres">
      <dgm:prSet presAssocID="{E0C8FDBA-B4E1-45BE-A37A-379EA81D0B74}" presName="rootConnector" presStyleLbl="node3" presStyleIdx="13" presStyleCnt="19"/>
      <dgm:spPr/>
    </dgm:pt>
    <dgm:pt modelId="{78475D1F-4AC7-40C1-8B2F-2805FD1A6CC4}" type="pres">
      <dgm:prSet presAssocID="{E0C8FDBA-B4E1-45BE-A37A-379EA81D0B74}" presName="hierChild4" presStyleCnt="0"/>
      <dgm:spPr/>
    </dgm:pt>
    <dgm:pt modelId="{0697A185-609A-4DEB-8A62-C8FF3508FAF7}" type="pres">
      <dgm:prSet presAssocID="{E0C8FDBA-B4E1-45BE-A37A-379EA81D0B74}" presName="hierChild5" presStyleCnt="0"/>
      <dgm:spPr/>
    </dgm:pt>
    <dgm:pt modelId="{DC47B5BE-0D25-4337-B97F-303E26D4FF58}" type="pres">
      <dgm:prSet presAssocID="{25AF2A20-742B-4B54-82EE-1A36C3C1A1C1}" presName="hierChild5" presStyleCnt="0"/>
      <dgm:spPr/>
    </dgm:pt>
    <dgm:pt modelId="{C52852C6-20B4-46A2-B6DA-5FE9764A5987}" type="pres">
      <dgm:prSet presAssocID="{CC20C97E-EFDD-4A67-821C-3B85E1B7A98A}" presName="Name37" presStyleLbl="parChTrans1D2" presStyleIdx="3" presStyleCnt="5"/>
      <dgm:spPr/>
    </dgm:pt>
    <dgm:pt modelId="{B608C61A-120B-4251-B9EB-E7EDC8273B6F}" type="pres">
      <dgm:prSet presAssocID="{D9AFF782-FE71-42BB-99D0-C8D65EEC9AB8}" presName="hierRoot2" presStyleCnt="0">
        <dgm:presLayoutVars>
          <dgm:hierBranch val="hang"/>
        </dgm:presLayoutVars>
      </dgm:prSet>
      <dgm:spPr/>
    </dgm:pt>
    <dgm:pt modelId="{6DEDE116-3EA2-4404-BA72-3E63AF293AAD}" type="pres">
      <dgm:prSet presAssocID="{D9AFF782-FE71-42BB-99D0-C8D65EEC9AB8}" presName="rootComposite" presStyleCnt="0"/>
      <dgm:spPr/>
    </dgm:pt>
    <dgm:pt modelId="{93A91F1D-7D22-4985-85A0-25585DC5988D}" type="pres">
      <dgm:prSet presAssocID="{D9AFF782-FE71-42BB-99D0-C8D65EEC9AB8}" presName="rootText" presStyleLbl="node2" presStyleIdx="3" presStyleCnt="5" custLinFactNeighborX="3912" custLinFactNeighborY="10011">
        <dgm:presLayoutVars>
          <dgm:chPref val="3"/>
        </dgm:presLayoutVars>
      </dgm:prSet>
      <dgm:spPr/>
    </dgm:pt>
    <dgm:pt modelId="{C6591505-D2DB-4716-ADD2-239A1C546601}" type="pres">
      <dgm:prSet presAssocID="{D9AFF782-FE71-42BB-99D0-C8D65EEC9AB8}" presName="rootConnector" presStyleLbl="node2" presStyleIdx="3" presStyleCnt="5"/>
      <dgm:spPr/>
    </dgm:pt>
    <dgm:pt modelId="{938C0902-ABBE-4EAB-8859-4C995FBF347B}" type="pres">
      <dgm:prSet presAssocID="{D9AFF782-FE71-42BB-99D0-C8D65EEC9AB8}" presName="hierChild4" presStyleCnt="0"/>
      <dgm:spPr/>
    </dgm:pt>
    <dgm:pt modelId="{624BD74D-0A26-4504-89C2-C0CE0AB010B7}" type="pres">
      <dgm:prSet presAssocID="{C578214E-0A14-4CEF-9DE7-9D43947495E8}" presName="Name48" presStyleLbl="parChTrans1D3" presStyleIdx="14" presStyleCnt="19"/>
      <dgm:spPr/>
    </dgm:pt>
    <dgm:pt modelId="{50712217-9B09-4EE8-97B8-7FFA82E90CAF}" type="pres">
      <dgm:prSet presAssocID="{C57E2B08-C14F-4730-8F05-46A4E50E07A4}" presName="hierRoot2" presStyleCnt="0">
        <dgm:presLayoutVars>
          <dgm:hierBranch val="hang"/>
        </dgm:presLayoutVars>
      </dgm:prSet>
      <dgm:spPr/>
    </dgm:pt>
    <dgm:pt modelId="{2584DB84-6D5D-4941-9889-C877F4F137C8}" type="pres">
      <dgm:prSet presAssocID="{C57E2B08-C14F-4730-8F05-46A4E50E07A4}" presName="rootComposite" presStyleCnt="0"/>
      <dgm:spPr/>
    </dgm:pt>
    <dgm:pt modelId="{BD124048-E30E-4AF4-8927-D2BF6DF4E839}" type="pres">
      <dgm:prSet presAssocID="{C57E2B08-C14F-4730-8F05-46A4E50E07A4}" presName="rootText" presStyleLbl="node3" presStyleIdx="14" presStyleCnt="19" custLinFactNeighborX="1223" custLinFactNeighborY="11030">
        <dgm:presLayoutVars>
          <dgm:chPref val="3"/>
        </dgm:presLayoutVars>
      </dgm:prSet>
      <dgm:spPr/>
    </dgm:pt>
    <dgm:pt modelId="{266370AC-8E10-4BE9-8937-5CACF751948A}" type="pres">
      <dgm:prSet presAssocID="{C57E2B08-C14F-4730-8F05-46A4E50E07A4}" presName="rootConnector" presStyleLbl="node3" presStyleIdx="14" presStyleCnt="19"/>
      <dgm:spPr/>
    </dgm:pt>
    <dgm:pt modelId="{0A7035F7-D8A1-4D40-96C5-ED61913FA500}" type="pres">
      <dgm:prSet presAssocID="{C57E2B08-C14F-4730-8F05-46A4E50E07A4}" presName="hierChild4" presStyleCnt="0"/>
      <dgm:spPr/>
    </dgm:pt>
    <dgm:pt modelId="{E25535BC-DEEC-4619-8D55-743647BB00EC}" type="pres">
      <dgm:prSet presAssocID="{C57E2B08-C14F-4730-8F05-46A4E50E07A4}" presName="hierChild5" presStyleCnt="0"/>
      <dgm:spPr/>
    </dgm:pt>
    <dgm:pt modelId="{E4B24ED9-AEA6-4719-9AAC-19425E50102E}" type="pres">
      <dgm:prSet presAssocID="{35915763-0031-42C8-BC36-F3886FBA273E}" presName="Name48" presStyleLbl="parChTrans1D3" presStyleIdx="15" presStyleCnt="19"/>
      <dgm:spPr/>
    </dgm:pt>
    <dgm:pt modelId="{F3B32609-A687-45C6-A410-EBD5DD62AE65}" type="pres">
      <dgm:prSet presAssocID="{7CCC1F36-2DB0-4F7B-B68E-5AD0930837A4}" presName="hierRoot2" presStyleCnt="0">
        <dgm:presLayoutVars>
          <dgm:hierBranch val="hang"/>
        </dgm:presLayoutVars>
      </dgm:prSet>
      <dgm:spPr/>
    </dgm:pt>
    <dgm:pt modelId="{3A92B88B-6963-4975-BD04-61542137B14A}" type="pres">
      <dgm:prSet presAssocID="{7CCC1F36-2DB0-4F7B-B68E-5AD0930837A4}" presName="rootComposite" presStyleCnt="0"/>
      <dgm:spPr/>
    </dgm:pt>
    <dgm:pt modelId="{24BC7984-6149-4663-938B-04A9C51DF1FB}" type="pres">
      <dgm:prSet presAssocID="{7CCC1F36-2DB0-4F7B-B68E-5AD0930837A4}" presName="rootText" presStyleLbl="node3" presStyleIdx="15" presStyleCnt="19" custScaleY="100072" custLinFactNeighborX="26" custLinFactNeighborY="10958">
        <dgm:presLayoutVars>
          <dgm:chPref val="3"/>
        </dgm:presLayoutVars>
      </dgm:prSet>
      <dgm:spPr/>
    </dgm:pt>
    <dgm:pt modelId="{2C260D77-769B-4ABC-98F4-4E6E3CB1EF90}" type="pres">
      <dgm:prSet presAssocID="{7CCC1F36-2DB0-4F7B-B68E-5AD0930837A4}" presName="rootConnector" presStyleLbl="node3" presStyleIdx="15" presStyleCnt="19"/>
      <dgm:spPr/>
    </dgm:pt>
    <dgm:pt modelId="{8AC5A5D0-225B-45A7-B460-89BB69579712}" type="pres">
      <dgm:prSet presAssocID="{7CCC1F36-2DB0-4F7B-B68E-5AD0930837A4}" presName="hierChild4" presStyleCnt="0"/>
      <dgm:spPr/>
    </dgm:pt>
    <dgm:pt modelId="{A77269D1-D7AC-4886-9B9C-6921666DD936}" type="pres">
      <dgm:prSet presAssocID="{7CCC1F36-2DB0-4F7B-B68E-5AD0930837A4}" presName="hierChild5" presStyleCnt="0"/>
      <dgm:spPr/>
    </dgm:pt>
    <dgm:pt modelId="{C0D3BB45-9D19-4703-88C2-66BEE4E2B973}" type="pres">
      <dgm:prSet presAssocID="{7EEEA0F8-229D-441F-9E5A-7A6022DD9844}" presName="Name48" presStyleLbl="parChTrans1D3" presStyleIdx="16" presStyleCnt="19"/>
      <dgm:spPr/>
    </dgm:pt>
    <dgm:pt modelId="{00ACDC46-0062-4993-8D79-BFE8DBC0B4FF}" type="pres">
      <dgm:prSet presAssocID="{DAE2CEBD-542D-43AB-BA07-6EFDDF5C6135}" presName="hierRoot2" presStyleCnt="0">
        <dgm:presLayoutVars>
          <dgm:hierBranch val="hang"/>
        </dgm:presLayoutVars>
      </dgm:prSet>
      <dgm:spPr/>
    </dgm:pt>
    <dgm:pt modelId="{0AEF970B-6922-4981-A39C-AE271B214187}" type="pres">
      <dgm:prSet presAssocID="{DAE2CEBD-542D-43AB-BA07-6EFDDF5C6135}" presName="rootComposite" presStyleCnt="0"/>
      <dgm:spPr/>
    </dgm:pt>
    <dgm:pt modelId="{59C16821-136A-42CE-A32E-53F10B407A80}" type="pres">
      <dgm:prSet presAssocID="{DAE2CEBD-542D-43AB-BA07-6EFDDF5C6135}" presName="rootText" presStyleLbl="node3" presStyleIdx="16" presStyleCnt="19" custLinFactY="75746" custLinFactNeighborX="2704" custLinFactNeighborY="100000">
        <dgm:presLayoutVars>
          <dgm:chPref val="3"/>
        </dgm:presLayoutVars>
      </dgm:prSet>
      <dgm:spPr/>
    </dgm:pt>
    <dgm:pt modelId="{ECF123A4-F45E-45C6-B1D6-1E39217B7B2C}" type="pres">
      <dgm:prSet presAssocID="{DAE2CEBD-542D-43AB-BA07-6EFDDF5C6135}" presName="rootConnector" presStyleLbl="node3" presStyleIdx="16" presStyleCnt="19"/>
      <dgm:spPr/>
    </dgm:pt>
    <dgm:pt modelId="{6DD4D02D-D95C-4310-8003-891DC4F32932}" type="pres">
      <dgm:prSet presAssocID="{DAE2CEBD-542D-43AB-BA07-6EFDDF5C6135}" presName="hierChild4" presStyleCnt="0"/>
      <dgm:spPr/>
    </dgm:pt>
    <dgm:pt modelId="{5543DF53-49F4-4BCA-95A1-083550ED700E}" type="pres">
      <dgm:prSet presAssocID="{DAE2CEBD-542D-43AB-BA07-6EFDDF5C6135}" presName="hierChild5" presStyleCnt="0"/>
      <dgm:spPr/>
    </dgm:pt>
    <dgm:pt modelId="{2180CF6A-AD39-4810-94ED-3BA4F0BB8147}" type="pres">
      <dgm:prSet presAssocID="{05D21AD6-D91C-4DBF-A630-E8D733B7496D}" presName="Name48" presStyleLbl="parChTrans1D3" presStyleIdx="17" presStyleCnt="19"/>
      <dgm:spPr/>
    </dgm:pt>
    <dgm:pt modelId="{BE262D98-1443-40EC-B1E2-248A4A512673}" type="pres">
      <dgm:prSet presAssocID="{AAC41667-D540-428A-8E75-4A12EB13EC01}" presName="hierRoot2" presStyleCnt="0">
        <dgm:presLayoutVars>
          <dgm:hierBranch val="hang"/>
        </dgm:presLayoutVars>
      </dgm:prSet>
      <dgm:spPr/>
    </dgm:pt>
    <dgm:pt modelId="{469E3A06-CC11-40B1-B3C7-72ACC7F56BB2}" type="pres">
      <dgm:prSet presAssocID="{AAC41667-D540-428A-8E75-4A12EB13EC01}" presName="rootComposite" presStyleCnt="0"/>
      <dgm:spPr/>
    </dgm:pt>
    <dgm:pt modelId="{29BFB6C1-D823-46CA-84D1-1520903300FC}" type="pres">
      <dgm:prSet presAssocID="{AAC41667-D540-428A-8E75-4A12EB13EC01}" presName="rootText" presStyleLbl="node3" presStyleIdx="17" presStyleCnt="19" custLinFactNeighborX="1223" custLinFactNeighborY="1014">
        <dgm:presLayoutVars>
          <dgm:chPref val="3"/>
        </dgm:presLayoutVars>
      </dgm:prSet>
      <dgm:spPr/>
    </dgm:pt>
    <dgm:pt modelId="{7F82E3ED-1AB7-46C3-AFE6-1D1C8EDF0CA5}" type="pres">
      <dgm:prSet presAssocID="{AAC41667-D540-428A-8E75-4A12EB13EC01}" presName="rootConnector" presStyleLbl="node3" presStyleIdx="17" presStyleCnt="19"/>
      <dgm:spPr/>
    </dgm:pt>
    <dgm:pt modelId="{AE348AF0-6158-4AEF-88FB-08E520EFE8E0}" type="pres">
      <dgm:prSet presAssocID="{AAC41667-D540-428A-8E75-4A12EB13EC01}" presName="hierChild4" presStyleCnt="0"/>
      <dgm:spPr/>
    </dgm:pt>
    <dgm:pt modelId="{1ECE731C-F505-41BC-AB5D-174509F0191B}" type="pres">
      <dgm:prSet presAssocID="{AAC41667-D540-428A-8E75-4A12EB13EC01}" presName="hierChild5" presStyleCnt="0"/>
      <dgm:spPr/>
    </dgm:pt>
    <dgm:pt modelId="{59B232EF-2D1D-49CB-9869-94894A759754}" type="pres">
      <dgm:prSet presAssocID="{BD54E422-EC94-4558-9536-4F99BD20C32B}" presName="Name48" presStyleLbl="parChTrans1D3" presStyleIdx="18" presStyleCnt="19"/>
      <dgm:spPr/>
    </dgm:pt>
    <dgm:pt modelId="{3C0E049D-849A-4267-9D46-240008F38999}" type="pres">
      <dgm:prSet presAssocID="{6DBB3597-3C04-4049-92F1-06AFC741A484}" presName="hierRoot2" presStyleCnt="0">
        <dgm:presLayoutVars>
          <dgm:hierBranch val="hang"/>
        </dgm:presLayoutVars>
      </dgm:prSet>
      <dgm:spPr/>
    </dgm:pt>
    <dgm:pt modelId="{6691932E-CF57-4CC4-B264-D170AB37EEE3}" type="pres">
      <dgm:prSet presAssocID="{6DBB3597-3C04-4049-92F1-06AFC741A484}" presName="rootComposite" presStyleCnt="0"/>
      <dgm:spPr/>
    </dgm:pt>
    <dgm:pt modelId="{51F33CE0-C792-43E6-9B95-4AA844009EE5}" type="pres">
      <dgm:prSet presAssocID="{6DBB3597-3C04-4049-92F1-06AFC741A484}" presName="rootText" presStyleLbl="node3" presStyleIdx="18" presStyleCnt="19" custLinFactY="44650" custLinFactNeighborX="1223" custLinFactNeighborY="100000">
        <dgm:presLayoutVars>
          <dgm:chPref val="3"/>
        </dgm:presLayoutVars>
      </dgm:prSet>
      <dgm:spPr/>
    </dgm:pt>
    <dgm:pt modelId="{E727AD94-075F-49A2-8531-01CD1C7D6333}" type="pres">
      <dgm:prSet presAssocID="{6DBB3597-3C04-4049-92F1-06AFC741A484}" presName="rootConnector" presStyleLbl="node3" presStyleIdx="18" presStyleCnt="19"/>
      <dgm:spPr/>
    </dgm:pt>
    <dgm:pt modelId="{2553921A-A42D-4097-BE44-602F98390533}" type="pres">
      <dgm:prSet presAssocID="{6DBB3597-3C04-4049-92F1-06AFC741A484}" presName="hierChild4" presStyleCnt="0"/>
      <dgm:spPr/>
    </dgm:pt>
    <dgm:pt modelId="{6CA001DC-A2C5-4CD8-B74C-FC7BF906F393}" type="pres">
      <dgm:prSet presAssocID="{6DBB3597-3C04-4049-92F1-06AFC741A484}" presName="hierChild5" presStyleCnt="0"/>
      <dgm:spPr/>
    </dgm:pt>
    <dgm:pt modelId="{2FE1CF98-76D1-4570-9A8A-D319916AAC7F}" type="pres">
      <dgm:prSet presAssocID="{D9AFF782-FE71-42BB-99D0-C8D65EEC9AB8}" presName="hierChild5" presStyleCnt="0"/>
      <dgm:spPr/>
    </dgm:pt>
    <dgm:pt modelId="{4CFE875C-E146-4181-A2BE-0EABCD2A558F}" type="pres">
      <dgm:prSet presAssocID="{1AC3F2D8-4A98-4BDB-98DE-2F0F7CA3C62C}" presName="Name37" presStyleLbl="parChTrans1D2" presStyleIdx="4" presStyleCnt="5"/>
      <dgm:spPr/>
    </dgm:pt>
    <dgm:pt modelId="{80271EF2-C154-4A0D-8E68-F4DB37C77F77}" type="pres">
      <dgm:prSet presAssocID="{82E631FE-C6FC-45C6-9490-9C8D2921429C}" presName="hierRoot2" presStyleCnt="0">
        <dgm:presLayoutVars>
          <dgm:hierBranch val="init"/>
        </dgm:presLayoutVars>
      </dgm:prSet>
      <dgm:spPr/>
    </dgm:pt>
    <dgm:pt modelId="{D1122FA3-35CB-4C1F-817A-38903DDCB578}" type="pres">
      <dgm:prSet presAssocID="{82E631FE-C6FC-45C6-9490-9C8D2921429C}" presName="rootComposite" presStyleCnt="0"/>
      <dgm:spPr/>
    </dgm:pt>
    <dgm:pt modelId="{9060BF1E-9366-4AEA-8D0E-28DE9A854D56}" type="pres">
      <dgm:prSet presAssocID="{82E631FE-C6FC-45C6-9490-9C8D2921429C}" presName="rootText" presStyleLbl="node2" presStyleIdx="4" presStyleCnt="5" custLinFactNeighborX="-2522" custLinFactNeighborY="9139">
        <dgm:presLayoutVars>
          <dgm:chPref val="3"/>
        </dgm:presLayoutVars>
      </dgm:prSet>
      <dgm:spPr/>
    </dgm:pt>
    <dgm:pt modelId="{57E1A699-792A-40B3-88D9-06A6CFB31BD8}" type="pres">
      <dgm:prSet presAssocID="{82E631FE-C6FC-45C6-9490-9C8D2921429C}" presName="rootConnector" presStyleLbl="node2" presStyleIdx="4" presStyleCnt="5"/>
      <dgm:spPr/>
    </dgm:pt>
    <dgm:pt modelId="{67844ED5-EBD1-4AEB-B39B-DF68DB11F01B}" type="pres">
      <dgm:prSet presAssocID="{82E631FE-C6FC-45C6-9490-9C8D2921429C}" presName="hierChild4" presStyleCnt="0"/>
      <dgm:spPr/>
    </dgm:pt>
    <dgm:pt modelId="{5E94D50D-5D3B-4C04-BF8F-546603C6B18F}" type="pres">
      <dgm:prSet presAssocID="{82E631FE-C6FC-45C6-9490-9C8D2921429C}" presName="hierChild5" presStyleCnt="0"/>
      <dgm:spPr/>
    </dgm:pt>
    <dgm:pt modelId="{A01BFD0A-DF36-4B6D-9BA0-3A05A52ED7B1}" type="pres">
      <dgm:prSet presAssocID="{735E0ECF-1473-4459-9782-B3BFD89D844B}" presName="hierChild3" presStyleCnt="0"/>
      <dgm:spPr/>
    </dgm:pt>
  </dgm:ptLst>
  <dgm:cxnLst>
    <dgm:cxn modelId="{199E3F01-772A-4A2B-A5BF-23D4A0D8AAF4}" srcId="{D9AFF782-FE71-42BB-99D0-C8D65EEC9AB8}" destId="{6DBB3597-3C04-4049-92F1-06AFC741A484}" srcOrd="4" destOrd="0" parTransId="{BD54E422-EC94-4558-9536-4F99BD20C32B}" sibTransId="{DF6B88A1-65D4-4CD1-B63A-DB42E49B80BF}"/>
    <dgm:cxn modelId="{99D95207-2272-45A5-8120-324592165CD8}" type="presOf" srcId="{82E631FE-C6FC-45C6-9490-9C8D2921429C}" destId="{57E1A699-792A-40B3-88D9-06A6CFB31BD8}" srcOrd="1" destOrd="0" presId="urn:microsoft.com/office/officeart/2005/8/layout/orgChart1"/>
    <dgm:cxn modelId="{E0BDFD0C-89DC-4BA7-A6C6-E09C4AAEEBD5}" type="presOf" srcId="{6DBB3597-3C04-4049-92F1-06AFC741A484}" destId="{E727AD94-075F-49A2-8531-01CD1C7D6333}" srcOrd="1" destOrd="0" presId="urn:microsoft.com/office/officeart/2005/8/layout/orgChart1"/>
    <dgm:cxn modelId="{B580B70F-AE73-4035-B61F-AB3A27666F92}" srcId="{25AF2A20-742B-4B54-82EE-1A36C3C1A1C1}" destId="{E0C8FDBA-B4E1-45BE-A37A-379EA81D0B74}" srcOrd="6" destOrd="0" parTransId="{A599DC65-17C4-4309-B525-B55BF1A64FEF}" sibTransId="{386B6EEA-5D74-4A40-8E7D-FD2626CA5FAB}"/>
    <dgm:cxn modelId="{D9E37111-B8E5-4806-AAD1-7B9FA8B19E12}" srcId="{AEB5C877-C77B-47BD-825A-482B3EB5DF5F}" destId="{735E0ECF-1473-4459-9782-B3BFD89D844B}" srcOrd="0" destOrd="0" parTransId="{90F12E4B-19E3-4560-90AB-454891BF7004}" sibTransId="{ACF038FB-1CE1-4A98-8F2E-9A6C83F1B13E}"/>
    <dgm:cxn modelId="{6ED7AC12-B68A-4209-96F6-7E5CFBEBC6F3}" type="presOf" srcId="{AAC41667-D540-428A-8E75-4A12EB13EC01}" destId="{29BFB6C1-D823-46CA-84D1-1520903300FC}" srcOrd="0" destOrd="0" presId="urn:microsoft.com/office/officeart/2005/8/layout/orgChart1"/>
    <dgm:cxn modelId="{773ACF13-72DD-4E44-A744-86AE58E32183}" srcId="{D9AFF782-FE71-42BB-99D0-C8D65EEC9AB8}" destId="{DAE2CEBD-542D-43AB-BA07-6EFDDF5C6135}" srcOrd="2" destOrd="0" parTransId="{7EEEA0F8-229D-441F-9E5A-7A6022DD9844}" sibTransId="{B2CE2347-CD23-4E77-8EE2-A3E9E5D45FDC}"/>
    <dgm:cxn modelId="{E6016615-0926-4B8A-A2D5-F95DA9136F32}" type="presOf" srcId="{55D3AE3F-3FF9-459E-AA41-4FFD3A4B530A}" destId="{F721A2C3-B74E-4B93-9D96-D10D55204BB2}" srcOrd="0" destOrd="0" presId="urn:microsoft.com/office/officeart/2005/8/layout/orgChart1"/>
    <dgm:cxn modelId="{2A131318-DFC9-41A8-AAFE-B6A5FE6B7106}" type="presOf" srcId="{4546BF59-9C3D-4813-AD80-8A61F5FF118F}" destId="{65B3E0A9-DA86-4F99-8CB2-5CBC406D00D0}" srcOrd="0" destOrd="0" presId="urn:microsoft.com/office/officeart/2005/8/layout/orgChart1"/>
    <dgm:cxn modelId="{F68A1222-B433-44F5-9C83-80C472B9452D}" type="presOf" srcId="{AAC41667-D540-428A-8E75-4A12EB13EC01}" destId="{7F82E3ED-1AB7-46C3-AFE6-1D1C8EDF0CA5}" srcOrd="1" destOrd="0" presId="urn:microsoft.com/office/officeart/2005/8/layout/orgChart1"/>
    <dgm:cxn modelId="{E3D87F22-EEA2-486C-A3F7-2113400DD4D6}" type="presOf" srcId="{3F407392-4167-4C51-A077-D7329DB2CED1}" destId="{7530D462-01FB-4E6D-9118-B2167C4604DC}" srcOrd="1" destOrd="0" presId="urn:microsoft.com/office/officeart/2005/8/layout/orgChart1"/>
    <dgm:cxn modelId="{DDE97A23-B107-4301-843B-9FAB7A3824CE}" srcId="{735E0ECF-1473-4459-9782-B3BFD89D844B}" destId="{25AF2A20-742B-4B54-82EE-1A36C3C1A1C1}" srcOrd="2" destOrd="0" parTransId="{DD5605C9-86D4-46AB-815E-97791D76E890}" sibTransId="{DB2CF243-4E5E-43F5-BC45-86118435809D}"/>
    <dgm:cxn modelId="{86782B2C-514A-48FE-A3E2-90B82A68E940}" type="presOf" srcId="{7CCC1F36-2DB0-4F7B-B68E-5AD0930837A4}" destId="{24BC7984-6149-4663-938B-04A9C51DF1FB}" srcOrd="0" destOrd="0" presId="urn:microsoft.com/office/officeart/2005/8/layout/orgChart1"/>
    <dgm:cxn modelId="{39718F2F-F1BB-4543-94B9-E375F01D1237}" srcId="{735E0ECF-1473-4459-9782-B3BFD89D844B}" destId="{5D030A46-7792-4815-B57B-046A07F0140A}" srcOrd="0" destOrd="0" parTransId="{93793C77-22A1-4452-AA5B-CD75C3A2088D}" sibTransId="{23F7F991-0E15-4B2C-9412-38FC07AC3355}"/>
    <dgm:cxn modelId="{BF796633-D964-451F-B9F3-256C8D0C471D}" type="presOf" srcId="{DD5605C9-86D4-46AB-815E-97791D76E890}" destId="{04B36B14-FDED-4614-BB74-97EE5BB8F52D}" srcOrd="0" destOrd="0" presId="urn:microsoft.com/office/officeart/2005/8/layout/orgChart1"/>
    <dgm:cxn modelId="{CF675233-7C34-4FD6-8FEC-05E2C4C6685E}" type="presOf" srcId="{C2BCB542-154D-41AA-BC2F-0175A751E962}" destId="{A4260DFB-585E-4A73-816C-F9AEEDDA9394}" srcOrd="0" destOrd="0" presId="urn:microsoft.com/office/officeart/2005/8/layout/orgChart1"/>
    <dgm:cxn modelId="{CF678533-5A30-4B9E-82F6-58A6F0C30F27}" type="presOf" srcId="{C2E12818-6442-4FFE-AF51-2B8034F01904}" destId="{9B3E7BAB-573F-4360-9513-1138FF22520D}" srcOrd="0" destOrd="0" presId="urn:microsoft.com/office/officeart/2005/8/layout/orgChart1"/>
    <dgm:cxn modelId="{7345F433-8A83-4398-A19E-D7925B83ADCD}" type="presOf" srcId="{145CDE4C-D961-40ED-AD5C-4F15CABC75FB}" destId="{BC6D9694-E2FB-466A-9121-F6DA2CA4E423}" srcOrd="0" destOrd="0" presId="urn:microsoft.com/office/officeart/2005/8/layout/orgChart1"/>
    <dgm:cxn modelId="{0E72D436-B8EE-4BEE-AA3A-24FF9B257880}" srcId="{C4171510-A219-4D73-ABD0-9340201AB08B}" destId="{B35741F1-64E8-425C-8768-F1973D6B9FCD}" srcOrd="1" destOrd="0" parTransId="{F7724F3E-23A6-4AE0-9E34-B131A4643726}" sibTransId="{8B689FC8-9BB4-4215-BCC7-149B8015AFDB}"/>
    <dgm:cxn modelId="{29A1E63A-EF8B-4B5E-BC29-34D435171C1D}" type="presOf" srcId="{145CDE4C-D961-40ED-AD5C-4F15CABC75FB}" destId="{ED85CF53-B366-40FC-A1B2-AC0A7E230913}" srcOrd="1" destOrd="0" presId="urn:microsoft.com/office/officeart/2005/8/layout/orgChart1"/>
    <dgm:cxn modelId="{7EF0843E-A080-43B0-8B93-EEBDB762DB4E}" type="presOf" srcId="{D9AFF782-FE71-42BB-99D0-C8D65EEC9AB8}" destId="{93A91F1D-7D22-4985-85A0-25585DC5988D}" srcOrd="0" destOrd="0" presId="urn:microsoft.com/office/officeart/2005/8/layout/orgChart1"/>
    <dgm:cxn modelId="{211EB95B-E29C-4C90-9CA4-6271E55946F4}" type="presOf" srcId="{B35741F1-64E8-425C-8768-F1973D6B9FCD}" destId="{5F232BDD-EEA6-4F5D-A6CC-275A9E5D3873}" srcOrd="1" destOrd="0" presId="urn:microsoft.com/office/officeart/2005/8/layout/orgChart1"/>
    <dgm:cxn modelId="{D7918162-D46D-40AF-AC97-E3652225FDFD}" type="presOf" srcId="{78529EF1-C1C6-4CD6-BDBF-4ADB1B3719D4}" destId="{D9F8732B-C34D-4E46-89C0-591665126EF3}" srcOrd="1" destOrd="0" presId="urn:microsoft.com/office/officeart/2005/8/layout/orgChart1"/>
    <dgm:cxn modelId="{A61EE544-CE24-4F3B-A5CE-4C7D53B1251F}" srcId="{25AF2A20-742B-4B54-82EE-1A36C3C1A1C1}" destId="{78529EF1-C1C6-4CD6-BDBF-4ADB1B3719D4}" srcOrd="3" destOrd="0" parTransId="{5CF60ADD-7448-4FA0-B129-3579EFE6BDBF}" sibTransId="{2CE863CE-E8BB-4110-960E-C20F50638BCB}"/>
    <dgm:cxn modelId="{58422365-772C-4175-AA18-C4E518358597}" type="presOf" srcId="{DAE2CEBD-542D-43AB-BA07-6EFDDF5C6135}" destId="{ECF123A4-F45E-45C6-B1D6-1E39217B7B2C}" srcOrd="1" destOrd="0" presId="urn:microsoft.com/office/officeart/2005/8/layout/orgChart1"/>
    <dgm:cxn modelId="{0BB40366-D9A7-46A4-9891-10646C79B532}" srcId="{735E0ECF-1473-4459-9782-B3BFD89D844B}" destId="{82E631FE-C6FC-45C6-9490-9C8D2921429C}" srcOrd="4" destOrd="0" parTransId="{1AC3F2D8-4A98-4BDB-98DE-2F0F7CA3C62C}" sibTransId="{8CF148D7-ACE2-470F-8E76-3C213A378A74}"/>
    <dgm:cxn modelId="{4EF13E66-5137-4973-945B-7F351A5B460B}" type="presOf" srcId="{868AF991-4EBE-4263-87F3-E67A2033B966}" destId="{900AFB7F-2B1C-4F2F-90FD-534B3C5D185A}" srcOrd="0" destOrd="0" presId="urn:microsoft.com/office/officeart/2005/8/layout/orgChart1"/>
    <dgm:cxn modelId="{8A853267-24DE-4230-80A1-1B0047E806B5}" srcId="{C4171510-A219-4D73-ABD0-9340201AB08B}" destId="{6BCD56A0-6A2A-4E24-B6A7-EF760C57C846}" srcOrd="3" destOrd="0" parTransId="{2334290E-A2FB-4F3C-938D-9625B8A51122}" sibTransId="{63242704-AC4E-4112-9A3A-8DDE3E5ADB12}"/>
    <dgm:cxn modelId="{10D18947-0C32-4EC9-8D8D-48AF45F05627}" type="presOf" srcId="{E0C8FDBA-B4E1-45BE-A37A-379EA81D0B74}" destId="{18490A3D-7561-4C91-B5F4-2BA7B9B60576}" srcOrd="0" destOrd="0" presId="urn:microsoft.com/office/officeart/2005/8/layout/orgChart1"/>
    <dgm:cxn modelId="{31C90A48-C72C-491D-A92D-3A474CB7D479}" type="presOf" srcId="{5D030A46-7792-4815-B57B-046A07F0140A}" destId="{2FD465CE-D641-4F07-9394-155CB7FBF3F3}" srcOrd="1" destOrd="0" presId="urn:microsoft.com/office/officeart/2005/8/layout/orgChart1"/>
    <dgm:cxn modelId="{CA40AD49-17F5-4768-9E64-A2CE834607BD}" type="presOf" srcId="{20CC2F9B-2AC1-41C0-8F2C-5CD29F3C72C0}" destId="{4736FCD0-8E0A-4FF6-8C5C-59C75434551D}" srcOrd="0" destOrd="0" presId="urn:microsoft.com/office/officeart/2005/8/layout/orgChart1"/>
    <dgm:cxn modelId="{7E4ABD69-393D-45B9-B161-09A6E718C2D4}" type="presOf" srcId="{20CC2F9B-2AC1-41C0-8F2C-5CD29F3C72C0}" destId="{C3B918D2-E499-4DBC-900C-84E3AC5CDE48}" srcOrd="1" destOrd="0" presId="urn:microsoft.com/office/officeart/2005/8/layout/orgChart1"/>
    <dgm:cxn modelId="{A3A3CE4A-4227-45C3-9470-06F72CEE1655}" type="presOf" srcId="{3F407392-4167-4C51-A077-D7329DB2CED1}" destId="{36764980-1D1F-4C31-B763-CBCF535AD06A}" srcOrd="0" destOrd="0" presId="urn:microsoft.com/office/officeart/2005/8/layout/orgChart1"/>
    <dgm:cxn modelId="{DF2CFB4A-6267-4CBA-B60A-0D7B059FEE7D}" type="presOf" srcId="{F7724F3E-23A6-4AE0-9E34-B131A4643726}" destId="{4C203ED4-6493-487D-88B2-D43CA89A714C}" srcOrd="0" destOrd="0" presId="urn:microsoft.com/office/officeart/2005/8/layout/orgChart1"/>
    <dgm:cxn modelId="{7389EE6D-2C0D-4341-B380-0AA3CF1B2B6F}" type="presOf" srcId="{6DBB3597-3C04-4049-92F1-06AFC741A484}" destId="{51F33CE0-C792-43E6-9B95-4AA844009EE5}" srcOrd="0" destOrd="0" presId="urn:microsoft.com/office/officeart/2005/8/layout/orgChart1"/>
    <dgm:cxn modelId="{5DCEFA4E-474D-4641-B9A2-5EFB6814B5B9}" srcId="{D9AFF782-FE71-42BB-99D0-C8D65EEC9AB8}" destId="{C57E2B08-C14F-4730-8F05-46A4E50E07A4}" srcOrd="0" destOrd="0" parTransId="{C578214E-0A14-4CEF-9DE7-9D43947495E8}" sibTransId="{7BD763A0-B74E-43A3-82EC-2BE5ED2607C4}"/>
    <dgm:cxn modelId="{F1054851-897E-4CBB-BCA7-46740247E9B2}" type="presOf" srcId="{2B5C111A-46A9-4164-9BED-60CE7D0DEFD1}" destId="{DC8B994C-FFB3-4EA3-9D85-F30443BCB270}" srcOrd="0" destOrd="0" presId="urn:microsoft.com/office/officeart/2005/8/layout/orgChart1"/>
    <dgm:cxn modelId="{D55BA973-6387-4CB5-B1B2-F82EF1474738}" type="presOf" srcId="{2334290E-A2FB-4F3C-938D-9625B8A51122}" destId="{30705EA0-ACCA-48DF-9172-3EAFB681551B}" srcOrd="0" destOrd="0" presId="urn:microsoft.com/office/officeart/2005/8/layout/orgChart1"/>
    <dgm:cxn modelId="{2F1D6354-7B09-4794-A04B-8A26BBBD3611}" type="presOf" srcId="{D9AFF782-FE71-42BB-99D0-C8D65EEC9AB8}" destId="{C6591505-D2DB-4716-ADD2-239A1C546601}" srcOrd="1" destOrd="0" presId="urn:microsoft.com/office/officeart/2005/8/layout/orgChart1"/>
    <dgm:cxn modelId="{05AD7474-C0BB-4F93-ADE9-F30E56F3E2C5}" type="presOf" srcId="{EB027484-7CEA-4CBE-BF58-C09DD2571399}" destId="{857E5E5B-C52C-4438-9D5D-D1C33F85DC46}" srcOrd="0" destOrd="0" presId="urn:microsoft.com/office/officeart/2005/8/layout/orgChart1"/>
    <dgm:cxn modelId="{AAEC8174-EFA4-45DE-8C80-FE9901949D2C}" type="presOf" srcId="{5D030A46-7792-4815-B57B-046A07F0140A}" destId="{AC5FF851-1189-4F95-8351-A97A476B2246}" srcOrd="0" destOrd="0" presId="urn:microsoft.com/office/officeart/2005/8/layout/orgChart1"/>
    <dgm:cxn modelId="{B6FF9D55-E477-448C-B6E8-53F9A17F7A45}" srcId="{D9AFF782-FE71-42BB-99D0-C8D65EEC9AB8}" destId="{AAC41667-D540-428A-8E75-4A12EB13EC01}" srcOrd="3" destOrd="0" parTransId="{05D21AD6-D91C-4DBF-A630-E8D733B7496D}" sibTransId="{8512352E-4EB2-420B-AB9F-AE13563EBE33}"/>
    <dgm:cxn modelId="{B2A39E5A-DF76-4903-802E-3BBBF8A4D392}" type="presOf" srcId="{78529EF1-C1C6-4CD6-BDBF-4ADB1B3719D4}" destId="{34C6C65D-2FB2-4BC6-85E7-4981197D899A}" srcOrd="0" destOrd="0" presId="urn:microsoft.com/office/officeart/2005/8/layout/orgChart1"/>
    <dgm:cxn modelId="{0ECC4382-2D75-451B-B843-EB1DA230496D}" type="presOf" srcId="{C4171510-A219-4D73-ABD0-9340201AB08B}" destId="{71D9930B-3E8E-46AF-9F9D-50C9E28A14EA}" srcOrd="1" destOrd="0" presId="urn:microsoft.com/office/officeart/2005/8/layout/orgChart1"/>
    <dgm:cxn modelId="{D3AAEC83-5813-43B3-AF2D-5B107DC95D7A}" srcId="{25AF2A20-742B-4B54-82EE-1A36C3C1A1C1}" destId="{C2E12818-6442-4FFE-AF51-2B8034F01904}" srcOrd="4" destOrd="0" parTransId="{90625E7B-6F51-44B8-8D09-1D1DDBA1196A}" sibTransId="{6B8352BC-7427-4B2E-83EE-9E00425E76A5}"/>
    <dgm:cxn modelId="{840D3A84-ED22-441B-8BC0-9A382D84030D}" type="presOf" srcId="{A599DC65-17C4-4309-B525-B55BF1A64FEF}" destId="{D3F60D4C-C526-4F49-B3E8-E06249817A96}" srcOrd="0" destOrd="0" presId="urn:microsoft.com/office/officeart/2005/8/layout/orgChart1"/>
    <dgm:cxn modelId="{C058F985-07F2-45CE-95DD-FF56667E4652}" type="presOf" srcId="{C578214E-0A14-4CEF-9DE7-9D43947495E8}" destId="{624BD74D-0A26-4504-89C2-C0CE0AB010B7}" srcOrd="0" destOrd="0" presId="urn:microsoft.com/office/officeart/2005/8/layout/orgChart1"/>
    <dgm:cxn modelId="{8487FF88-8AF7-4784-B911-F74341B0E40A}" srcId="{5D030A46-7792-4815-B57B-046A07F0140A}" destId="{55D3AE3F-3FF9-459E-AA41-4FFD3A4B530A}" srcOrd="2" destOrd="0" parTransId="{33A946CB-810B-4292-955D-3DF60C7CCC01}" sibTransId="{32DB0A79-289B-4BA9-9212-0AFD503BC2FE}"/>
    <dgm:cxn modelId="{CB138089-4E9F-49D4-A965-67B2284B85F7}" srcId="{5D030A46-7792-4815-B57B-046A07F0140A}" destId="{3F407392-4167-4C51-A077-D7329DB2CED1}" srcOrd="1" destOrd="0" parTransId="{2B5C111A-46A9-4164-9BED-60CE7D0DEFD1}" sibTransId="{32346728-CBD2-4171-9AB1-F5DFDB148C4F}"/>
    <dgm:cxn modelId="{A5EAAF89-1B8D-466F-BED5-7B1D3CC0458D}" type="presOf" srcId="{55D3AE3F-3FF9-459E-AA41-4FFD3A4B530A}" destId="{84E38710-D049-4F4F-A352-B9C5CABE829D}" srcOrd="1" destOrd="0" presId="urn:microsoft.com/office/officeart/2005/8/layout/orgChart1"/>
    <dgm:cxn modelId="{F5C8658B-C641-4D5B-9611-EA2FB5D34D15}" type="presOf" srcId="{735E0ECF-1473-4459-9782-B3BFD89D844B}" destId="{608CB659-20FB-4FD5-BD59-4EDC1CFD706A}" srcOrd="0" destOrd="0" presId="urn:microsoft.com/office/officeart/2005/8/layout/orgChart1"/>
    <dgm:cxn modelId="{5DE9968B-CBA3-4207-95E2-F8184BAEC330}" srcId="{5D030A46-7792-4815-B57B-046A07F0140A}" destId="{EB027484-7CEA-4CBE-BF58-C09DD2571399}" srcOrd="0" destOrd="0" parTransId="{9F1142D6-E2EB-4B62-9657-E1BFD7D3F930}" sibTransId="{7E2DFD20-B35C-4A34-A97B-6B21C5343AD5}"/>
    <dgm:cxn modelId="{F6FEC18B-BF5F-407A-A650-267888D65D30}" type="presOf" srcId="{5CF60ADD-7448-4FA0-B129-3579EFE6BDBF}" destId="{9546EDD2-AE2D-4CCC-A153-7110360B9BEC}" srcOrd="0" destOrd="0" presId="urn:microsoft.com/office/officeart/2005/8/layout/orgChart1"/>
    <dgm:cxn modelId="{8081D38F-C8C3-4AC8-BFD2-B831AAF463C6}" type="presOf" srcId="{C2E12818-6442-4FFE-AF51-2B8034F01904}" destId="{3A7E4F99-5702-44D9-A6EF-995F4A043CF2}" srcOrd="1" destOrd="0" presId="urn:microsoft.com/office/officeart/2005/8/layout/orgChart1"/>
    <dgm:cxn modelId="{CA516692-20C4-41D0-95E0-73890927DE1D}" type="presOf" srcId="{A4BA30C2-EE2A-4C06-9F5B-E5D4035B17CC}" destId="{FCDEEE3A-FB67-4F1F-BECE-E1F592365CFC}" srcOrd="1" destOrd="0" presId="urn:microsoft.com/office/officeart/2005/8/layout/orgChart1"/>
    <dgm:cxn modelId="{180A7198-8CF4-4565-9B33-A7FE4FD6A189}" srcId="{735E0ECF-1473-4459-9782-B3BFD89D844B}" destId="{D9AFF782-FE71-42BB-99D0-C8D65EEC9AB8}" srcOrd="3" destOrd="0" parTransId="{CC20C97E-EFDD-4A67-821C-3B85E1B7A98A}" sibTransId="{9D23B64F-CF42-49F8-8317-84814164169C}"/>
    <dgm:cxn modelId="{33AF3999-0C75-4883-8FD9-D4CED9E7C594}" type="presOf" srcId="{A3996FD5-4B24-43FC-9B73-EB82E12E15BD}" destId="{A8A43A45-90AB-4F0B-9084-0D14C71D65E1}" srcOrd="0" destOrd="0" presId="urn:microsoft.com/office/officeart/2005/8/layout/orgChart1"/>
    <dgm:cxn modelId="{B8AEBA9E-980E-41E3-8BBE-4970C544A02F}" type="presOf" srcId="{33A946CB-810B-4292-955D-3DF60C7CCC01}" destId="{C795F404-0DA7-405E-81AE-25EEDEC41780}" srcOrd="0" destOrd="0" presId="urn:microsoft.com/office/officeart/2005/8/layout/orgChart1"/>
    <dgm:cxn modelId="{D1662BA2-0044-4920-AE9A-ECC67C36B483}" type="presOf" srcId="{93793C77-22A1-4452-AA5B-CD75C3A2088D}" destId="{AA2C4414-7EF3-4BAE-A19E-E52D628B3FAE}" srcOrd="0" destOrd="0" presId="urn:microsoft.com/office/officeart/2005/8/layout/orgChart1"/>
    <dgm:cxn modelId="{E22470A6-5529-4624-AFED-C98CADA68AC1}" srcId="{25AF2A20-742B-4B54-82EE-1A36C3C1A1C1}" destId="{145CDE4C-D961-40ED-AD5C-4F15CABC75FB}" srcOrd="2" destOrd="0" parTransId="{D1F08918-E87A-4827-96EB-197E1D459CA4}" sibTransId="{4B760262-8528-4642-BF4B-1AE4691717F0}"/>
    <dgm:cxn modelId="{BF0293A6-4CEC-4AF2-A719-BF9277F1B204}" type="presOf" srcId="{A3996FD5-4B24-43FC-9B73-EB82E12E15BD}" destId="{2C183873-6D40-4E8A-85C6-17B11FDDE65A}" srcOrd="1" destOrd="0" presId="urn:microsoft.com/office/officeart/2005/8/layout/orgChart1"/>
    <dgm:cxn modelId="{48C00EA7-7229-4A80-8979-32E97270BABA}" type="presOf" srcId="{715F685F-1B97-4735-9D7D-F06EC3224C5B}" destId="{77B0771F-7A97-4F55-B5C4-7CE3A24EA5FB}" srcOrd="0" destOrd="0" presId="urn:microsoft.com/office/officeart/2005/8/layout/orgChart1"/>
    <dgm:cxn modelId="{323899A7-DC80-4FAC-8C77-2B5F7104424F}" srcId="{25AF2A20-742B-4B54-82EE-1A36C3C1A1C1}" destId="{715F685F-1B97-4735-9D7D-F06EC3224C5B}" srcOrd="0" destOrd="0" parTransId="{FD10F90F-B12D-4036-82A3-E1375D5847BB}" sibTransId="{E45E934C-FA03-43C6-B0C5-1E366C0B57C1}"/>
    <dgm:cxn modelId="{1A46E2A8-2BAF-4F06-BD1D-31E4878853E3}" srcId="{C4171510-A219-4D73-ABD0-9340201AB08B}" destId="{A3996FD5-4B24-43FC-9B73-EB82E12E15BD}" srcOrd="0" destOrd="0" parTransId="{D31CC421-290B-41DD-B006-DFB813BBC81E}" sibTransId="{354B113F-3523-4050-AF52-AC08D8151D46}"/>
    <dgm:cxn modelId="{0C7711AA-3347-45A2-BD1F-7A8F83B66F66}" srcId="{735E0ECF-1473-4459-9782-B3BFD89D844B}" destId="{C4171510-A219-4D73-ABD0-9340201AB08B}" srcOrd="1" destOrd="0" parTransId="{C596D3E0-CF1C-4186-873C-266C0BDDA405}" sibTransId="{55F7E4BD-CE46-4672-9F79-FC039A5ADB47}"/>
    <dgm:cxn modelId="{CB8DCCAC-25D1-4E61-ACB4-AD6352B42AAD}" type="presOf" srcId="{90625E7B-6F51-44B8-8D09-1D1DDBA1196A}" destId="{9F09995D-9ADF-410B-B9C8-980791CB2CCA}" srcOrd="0" destOrd="0" presId="urn:microsoft.com/office/officeart/2005/8/layout/orgChart1"/>
    <dgm:cxn modelId="{3DCD1FAF-4C22-48EE-AE47-B7BC2476F4D8}" type="presOf" srcId="{E0C8FDBA-B4E1-45BE-A37A-379EA81D0B74}" destId="{50ACBF04-6546-4760-80CE-4526632FA21F}" srcOrd="1" destOrd="0" presId="urn:microsoft.com/office/officeart/2005/8/layout/orgChart1"/>
    <dgm:cxn modelId="{5E4573AF-F39E-4291-B2CA-8D0415055841}" type="presOf" srcId="{05D21AD6-D91C-4DBF-A630-E8D733B7496D}" destId="{2180CF6A-AD39-4810-94ED-3BA4F0BB8147}" srcOrd="0" destOrd="0" presId="urn:microsoft.com/office/officeart/2005/8/layout/orgChart1"/>
    <dgm:cxn modelId="{3D65BDB1-CCCE-4B59-A7FC-CCEFA3D7A551}" srcId="{25AF2A20-742B-4B54-82EE-1A36C3C1A1C1}" destId="{20CC2F9B-2AC1-41C0-8F2C-5CD29F3C72C0}" srcOrd="5" destOrd="0" parTransId="{4546BF59-9C3D-4813-AD80-8A61F5FF118F}" sibTransId="{BC97DFB3-A646-490C-B296-B67CE502B0D9}"/>
    <dgm:cxn modelId="{C5F9A2B4-994F-4B02-89C5-4AA49B6FED21}" type="presOf" srcId="{25AF2A20-742B-4B54-82EE-1A36C3C1A1C1}" destId="{6F5EABE9-ADCF-4968-81B3-04689CB922B9}" srcOrd="0" destOrd="0" presId="urn:microsoft.com/office/officeart/2005/8/layout/orgChart1"/>
    <dgm:cxn modelId="{B087ABB6-6E8B-4769-8F35-E50C59AA8EF1}" type="presOf" srcId="{B35741F1-64E8-425C-8768-F1973D6B9FCD}" destId="{18F5216A-D74D-45D9-8EB3-3C45223454C9}" srcOrd="0" destOrd="0" presId="urn:microsoft.com/office/officeart/2005/8/layout/orgChart1"/>
    <dgm:cxn modelId="{AAB8B7B7-8B03-4579-878C-656416DE8E07}" srcId="{D9AFF782-FE71-42BB-99D0-C8D65EEC9AB8}" destId="{7CCC1F36-2DB0-4F7B-B68E-5AD0930837A4}" srcOrd="1" destOrd="0" parTransId="{35915763-0031-42C8-BC36-F3886FBA273E}" sibTransId="{A7B49983-6680-407F-B5BF-DF132722C100}"/>
    <dgm:cxn modelId="{010821BD-9140-496C-B874-2845674FAE91}" srcId="{25AF2A20-742B-4B54-82EE-1A36C3C1A1C1}" destId="{111E18F4-EF8B-4472-A2D1-E52F7FB4758B}" srcOrd="1" destOrd="0" parTransId="{868AF991-4EBE-4263-87F3-E67A2033B966}" sibTransId="{5A391C39-3151-4BBC-A20E-ACFFA20617ED}"/>
    <dgm:cxn modelId="{BEF6FDBD-B760-4A25-992B-543615E8DFC2}" type="presOf" srcId="{C4171510-A219-4D73-ABD0-9340201AB08B}" destId="{43FE5B09-28AC-4B39-BFE9-1C78BB5E9846}" srcOrd="0" destOrd="0" presId="urn:microsoft.com/office/officeart/2005/8/layout/orgChart1"/>
    <dgm:cxn modelId="{C5697BBF-A660-4CE2-BF5B-CBA9F3362CF8}" type="presOf" srcId="{C596D3E0-CF1C-4186-873C-266C0BDDA405}" destId="{2D62CCC2-632D-47CD-A6FB-AF9328D9C4C3}" srcOrd="0" destOrd="0" presId="urn:microsoft.com/office/officeart/2005/8/layout/orgChart1"/>
    <dgm:cxn modelId="{496904C0-1792-4660-ACBE-B480DA28ABB5}" type="presOf" srcId="{EB027484-7CEA-4CBE-BF58-C09DD2571399}" destId="{116439AF-00EB-4779-BBCF-EF4570381522}" srcOrd="1" destOrd="0" presId="urn:microsoft.com/office/officeart/2005/8/layout/orgChart1"/>
    <dgm:cxn modelId="{D1B983C0-2007-4A38-91D1-98934B2A816B}" type="presOf" srcId="{C57E2B08-C14F-4730-8F05-46A4E50E07A4}" destId="{BD124048-E30E-4AF4-8927-D2BF6DF4E839}" srcOrd="0" destOrd="0" presId="urn:microsoft.com/office/officeart/2005/8/layout/orgChart1"/>
    <dgm:cxn modelId="{52AB60C2-3BB1-4AA4-BE65-847609C82FF1}" type="presOf" srcId="{D31CC421-290B-41DD-B006-DFB813BBC81E}" destId="{F3A6A1AF-C065-491A-9B9F-6AC6C886A573}" srcOrd="0" destOrd="0" presId="urn:microsoft.com/office/officeart/2005/8/layout/orgChart1"/>
    <dgm:cxn modelId="{655C3FC6-FF4D-46FD-8D3F-9F381934AB67}" type="presOf" srcId="{CC20C97E-EFDD-4A67-821C-3B85E1B7A98A}" destId="{C52852C6-20B4-46A2-B6DA-5FE9764A5987}" srcOrd="0" destOrd="0" presId="urn:microsoft.com/office/officeart/2005/8/layout/orgChart1"/>
    <dgm:cxn modelId="{C87C28CE-18D0-4A5C-9401-129A6314442E}" type="presOf" srcId="{7CCC1F36-2DB0-4F7B-B68E-5AD0930837A4}" destId="{2C260D77-769B-4ABC-98F4-4E6E3CB1EF90}" srcOrd="1" destOrd="0" presId="urn:microsoft.com/office/officeart/2005/8/layout/orgChart1"/>
    <dgm:cxn modelId="{BE355BD1-C56F-49D9-AD6D-73DB266939E2}" type="presOf" srcId="{BD54E422-EC94-4558-9536-4F99BD20C32B}" destId="{59B232EF-2D1D-49CB-9869-94894A759754}" srcOrd="0" destOrd="0" presId="urn:microsoft.com/office/officeart/2005/8/layout/orgChart1"/>
    <dgm:cxn modelId="{CF5896D1-69C2-444B-827E-94832FFE3A77}" type="presOf" srcId="{7EEEA0F8-229D-441F-9E5A-7A6022DD9844}" destId="{C0D3BB45-9D19-4703-88C2-66BEE4E2B973}" srcOrd="0" destOrd="0" presId="urn:microsoft.com/office/officeart/2005/8/layout/orgChart1"/>
    <dgm:cxn modelId="{9A60ADD1-2F08-4F0E-875D-F4BAB2719729}" type="presOf" srcId="{DAE2CEBD-542D-43AB-BA07-6EFDDF5C6135}" destId="{59C16821-136A-42CE-A32E-53F10B407A80}" srcOrd="0" destOrd="0" presId="urn:microsoft.com/office/officeart/2005/8/layout/orgChart1"/>
    <dgm:cxn modelId="{6908A9D4-4AE4-4458-A1DD-067D726D76DD}" type="presOf" srcId="{9F1142D6-E2EB-4B62-9657-E1BFD7D3F930}" destId="{6C54FE7E-1514-4596-B8CE-BCE54D5A582E}" srcOrd="0" destOrd="0" presId="urn:microsoft.com/office/officeart/2005/8/layout/orgChart1"/>
    <dgm:cxn modelId="{CF994ADA-1817-41AD-A61F-47E09902D3D0}" srcId="{C4171510-A219-4D73-ABD0-9340201AB08B}" destId="{A4BA30C2-EE2A-4C06-9F5B-E5D4035B17CC}" srcOrd="2" destOrd="0" parTransId="{C2BCB542-154D-41AA-BC2F-0175A751E962}" sibTransId="{ED78C04B-1E00-40C4-9DDF-16B2B13BAE0C}"/>
    <dgm:cxn modelId="{19BD47DB-3A42-4CBA-921B-FD76E6AE720B}" type="presOf" srcId="{C57E2B08-C14F-4730-8F05-46A4E50E07A4}" destId="{266370AC-8E10-4BE9-8937-5CACF751948A}" srcOrd="1" destOrd="0" presId="urn:microsoft.com/office/officeart/2005/8/layout/orgChart1"/>
    <dgm:cxn modelId="{E6D88BDB-7A43-41EE-80E9-6FFEE8967B0A}" type="presOf" srcId="{6BCD56A0-6A2A-4E24-B6A7-EF760C57C846}" destId="{5D863696-ABCE-44D8-BBCB-6DA27C55A5D2}" srcOrd="1" destOrd="0" presId="urn:microsoft.com/office/officeart/2005/8/layout/orgChart1"/>
    <dgm:cxn modelId="{B3DD5AE3-B4E6-4CC4-B256-9DCE965F1E6A}" type="presOf" srcId="{1AC3F2D8-4A98-4BDB-98DE-2F0F7CA3C62C}" destId="{4CFE875C-E146-4181-A2BE-0EABCD2A558F}" srcOrd="0" destOrd="0" presId="urn:microsoft.com/office/officeart/2005/8/layout/orgChart1"/>
    <dgm:cxn modelId="{DE3BE4E7-96EB-4908-B779-45BE0C6399B2}" type="presOf" srcId="{FD10F90F-B12D-4036-82A3-E1375D5847BB}" destId="{EA7938CB-A733-44C1-A071-6CDE35869C6C}" srcOrd="0" destOrd="0" presId="urn:microsoft.com/office/officeart/2005/8/layout/orgChart1"/>
    <dgm:cxn modelId="{BD75FCE7-17DB-43E2-8442-1CA6CA8B6C64}" type="presOf" srcId="{A4BA30C2-EE2A-4C06-9F5B-E5D4035B17CC}" destId="{93931096-6600-46C3-98DA-74AC02AC0B71}" srcOrd="0" destOrd="0" presId="urn:microsoft.com/office/officeart/2005/8/layout/orgChart1"/>
    <dgm:cxn modelId="{683454E9-48C1-4734-8120-2B853926D9BD}" type="presOf" srcId="{6BCD56A0-6A2A-4E24-B6A7-EF760C57C846}" destId="{0D06EEA7-4445-454A-8592-5674FAFF84D6}" srcOrd="0" destOrd="0" presId="urn:microsoft.com/office/officeart/2005/8/layout/orgChart1"/>
    <dgm:cxn modelId="{2F2702F1-2C2C-4617-A586-A1761A85420B}" type="presOf" srcId="{111E18F4-EF8B-4472-A2D1-E52F7FB4758B}" destId="{7F2C8B3F-CC73-4AF4-B493-142FDFBE4550}" srcOrd="0" destOrd="0" presId="urn:microsoft.com/office/officeart/2005/8/layout/orgChart1"/>
    <dgm:cxn modelId="{54827AF5-6B17-4977-8860-1C1A85AE4F7D}" type="presOf" srcId="{35915763-0031-42C8-BC36-F3886FBA273E}" destId="{E4B24ED9-AEA6-4719-9AAC-19425E50102E}" srcOrd="0" destOrd="0" presId="urn:microsoft.com/office/officeart/2005/8/layout/orgChart1"/>
    <dgm:cxn modelId="{7EA7C5F5-79A3-4145-B2E2-630F8F86887E}" type="presOf" srcId="{AEB5C877-C77B-47BD-825A-482B3EB5DF5F}" destId="{008A9A80-BD13-446C-833B-2B197FFBA9AB}" srcOrd="0" destOrd="0" presId="urn:microsoft.com/office/officeart/2005/8/layout/orgChart1"/>
    <dgm:cxn modelId="{B09A44F6-FB9D-4A66-A1FF-DF393A33516C}" type="presOf" srcId="{25AF2A20-742B-4B54-82EE-1A36C3C1A1C1}" destId="{492EE907-4099-4D6E-8EF8-4A500681DBF1}" srcOrd="1" destOrd="0" presId="urn:microsoft.com/office/officeart/2005/8/layout/orgChart1"/>
    <dgm:cxn modelId="{1B91B9F7-2AE3-4EF1-9E47-274AA3B20355}" type="presOf" srcId="{715F685F-1B97-4735-9D7D-F06EC3224C5B}" destId="{3F7C118D-3B24-43E5-AF62-CC83C5D3392C}" srcOrd="1" destOrd="0" presId="urn:microsoft.com/office/officeart/2005/8/layout/orgChart1"/>
    <dgm:cxn modelId="{2F2130F8-4BF4-43C1-8B52-E58C7BF7CDA4}" type="presOf" srcId="{111E18F4-EF8B-4472-A2D1-E52F7FB4758B}" destId="{91F4DFD6-08F3-4398-8E0A-317B7ABFFAC4}" srcOrd="1" destOrd="0" presId="urn:microsoft.com/office/officeart/2005/8/layout/orgChart1"/>
    <dgm:cxn modelId="{D1BF9DF9-1189-4BB4-800D-FC4D5EE2293D}" type="presOf" srcId="{735E0ECF-1473-4459-9782-B3BFD89D844B}" destId="{663788D1-3B8C-4438-98A1-293F772704C9}" srcOrd="1" destOrd="0" presId="urn:microsoft.com/office/officeart/2005/8/layout/orgChart1"/>
    <dgm:cxn modelId="{A3C8C9FB-DE84-4531-89D2-96C842220372}" type="presOf" srcId="{D1F08918-E87A-4827-96EB-197E1D459CA4}" destId="{1679F611-1768-4DF1-92D2-2ABA33F52954}" srcOrd="0" destOrd="0" presId="urn:microsoft.com/office/officeart/2005/8/layout/orgChart1"/>
    <dgm:cxn modelId="{AEEB4DFF-921C-401F-9967-06B5F2C05764}" type="presOf" srcId="{82E631FE-C6FC-45C6-9490-9C8D2921429C}" destId="{9060BF1E-9366-4AEA-8D0E-28DE9A854D56}" srcOrd="0" destOrd="0" presId="urn:microsoft.com/office/officeart/2005/8/layout/orgChart1"/>
    <dgm:cxn modelId="{2E4573A1-A4A1-49C3-92A3-B9B9C8247AE1}" type="presParOf" srcId="{008A9A80-BD13-446C-833B-2B197FFBA9AB}" destId="{ADF78B51-FF65-46D3-95B4-403BD752DD8A}" srcOrd="0" destOrd="0" presId="urn:microsoft.com/office/officeart/2005/8/layout/orgChart1"/>
    <dgm:cxn modelId="{C6508C64-7921-43C9-8100-1BC82469C1F5}" type="presParOf" srcId="{ADF78B51-FF65-46D3-95B4-403BD752DD8A}" destId="{D1481A51-9A8E-4E3F-ACFE-BBFBAA069003}" srcOrd="0" destOrd="0" presId="urn:microsoft.com/office/officeart/2005/8/layout/orgChart1"/>
    <dgm:cxn modelId="{5780DAB9-89DF-4203-8ADC-C2580D490F1F}" type="presParOf" srcId="{D1481A51-9A8E-4E3F-ACFE-BBFBAA069003}" destId="{608CB659-20FB-4FD5-BD59-4EDC1CFD706A}" srcOrd="0" destOrd="0" presId="urn:microsoft.com/office/officeart/2005/8/layout/orgChart1"/>
    <dgm:cxn modelId="{6EE2DC87-5CB0-4BBD-9968-4F1B5C6ABC26}" type="presParOf" srcId="{D1481A51-9A8E-4E3F-ACFE-BBFBAA069003}" destId="{663788D1-3B8C-4438-98A1-293F772704C9}" srcOrd="1" destOrd="0" presId="urn:microsoft.com/office/officeart/2005/8/layout/orgChart1"/>
    <dgm:cxn modelId="{B6E59371-BD2B-4A67-91A6-4677BEAAA408}" type="presParOf" srcId="{ADF78B51-FF65-46D3-95B4-403BD752DD8A}" destId="{B3767120-1D84-4CBF-A42A-7963C47D4D0B}" srcOrd="1" destOrd="0" presId="urn:microsoft.com/office/officeart/2005/8/layout/orgChart1"/>
    <dgm:cxn modelId="{AFC63573-FAFD-4581-85C9-1EC23A9F7A9E}" type="presParOf" srcId="{B3767120-1D84-4CBF-A42A-7963C47D4D0B}" destId="{AA2C4414-7EF3-4BAE-A19E-E52D628B3FAE}" srcOrd="0" destOrd="0" presId="urn:microsoft.com/office/officeart/2005/8/layout/orgChart1"/>
    <dgm:cxn modelId="{9253C694-DAFA-4083-8C03-6F64A39DD069}" type="presParOf" srcId="{B3767120-1D84-4CBF-A42A-7963C47D4D0B}" destId="{6387B0E3-D0C5-444F-9B93-1D720208E895}" srcOrd="1" destOrd="0" presId="urn:microsoft.com/office/officeart/2005/8/layout/orgChart1"/>
    <dgm:cxn modelId="{2D1522F9-BE14-419D-8FEB-4D68CC836705}" type="presParOf" srcId="{6387B0E3-D0C5-444F-9B93-1D720208E895}" destId="{12FC5992-2B6A-4B44-9993-4ACF04F605A0}" srcOrd="0" destOrd="0" presId="urn:microsoft.com/office/officeart/2005/8/layout/orgChart1"/>
    <dgm:cxn modelId="{B31F7DAE-E5E0-475E-A8EC-8D506EB990DE}" type="presParOf" srcId="{12FC5992-2B6A-4B44-9993-4ACF04F605A0}" destId="{AC5FF851-1189-4F95-8351-A97A476B2246}" srcOrd="0" destOrd="0" presId="urn:microsoft.com/office/officeart/2005/8/layout/orgChart1"/>
    <dgm:cxn modelId="{97EB837D-E706-48E3-8E2F-27CF3BBD0626}" type="presParOf" srcId="{12FC5992-2B6A-4B44-9993-4ACF04F605A0}" destId="{2FD465CE-D641-4F07-9394-155CB7FBF3F3}" srcOrd="1" destOrd="0" presId="urn:microsoft.com/office/officeart/2005/8/layout/orgChart1"/>
    <dgm:cxn modelId="{B0D087F3-5596-436B-B2D3-4CD9253D4CCC}" type="presParOf" srcId="{6387B0E3-D0C5-444F-9B93-1D720208E895}" destId="{C59FB238-8008-4F2B-BC0E-E3651B88BA6C}" srcOrd="1" destOrd="0" presId="urn:microsoft.com/office/officeart/2005/8/layout/orgChart1"/>
    <dgm:cxn modelId="{8AAD736B-C73C-4510-BD2D-EBE0D4189679}" type="presParOf" srcId="{C59FB238-8008-4F2B-BC0E-E3651B88BA6C}" destId="{6C54FE7E-1514-4596-B8CE-BCE54D5A582E}" srcOrd="0" destOrd="0" presId="urn:microsoft.com/office/officeart/2005/8/layout/orgChart1"/>
    <dgm:cxn modelId="{78DBE5D3-B336-4C6F-92C8-DD5921AE1032}" type="presParOf" srcId="{C59FB238-8008-4F2B-BC0E-E3651B88BA6C}" destId="{7D945FEB-5361-4AD6-B303-4D1323345AFD}" srcOrd="1" destOrd="0" presId="urn:microsoft.com/office/officeart/2005/8/layout/orgChart1"/>
    <dgm:cxn modelId="{2B6FF013-25DD-4E0D-9802-1C053022D6EF}" type="presParOf" srcId="{7D945FEB-5361-4AD6-B303-4D1323345AFD}" destId="{91AB74F7-9E90-4010-8B4C-0DCFF9C74B1D}" srcOrd="0" destOrd="0" presId="urn:microsoft.com/office/officeart/2005/8/layout/orgChart1"/>
    <dgm:cxn modelId="{30F6661C-B9B7-41C3-8A36-141C71F16CC7}" type="presParOf" srcId="{91AB74F7-9E90-4010-8B4C-0DCFF9C74B1D}" destId="{857E5E5B-C52C-4438-9D5D-D1C33F85DC46}" srcOrd="0" destOrd="0" presId="urn:microsoft.com/office/officeart/2005/8/layout/orgChart1"/>
    <dgm:cxn modelId="{77826211-BF16-4B2A-B449-F865ACDA846E}" type="presParOf" srcId="{91AB74F7-9E90-4010-8B4C-0DCFF9C74B1D}" destId="{116439AF-00EB-4779-BBCF-EF4570381522}" srcOrd="1" destOrd="0" presId="urn:microsoft.com/office/officeart/2005/8/layout/orgChart1"/>
    <dgm:cxn modelId="{4371FF61-4639-41E0-B8D2-54EAA592CB65}" type="presParOf" srcId="{7D945FEB-5361-4AD6-B303-4D1323345AFD}" destId="{B26C6A3D-750B-4C7E-86F3-4CA28EA85EAB}" srcOrd="1" destOrd="0" presId="urn:microsoft.com/office/officeart/2005/8/layout/orgChart1"/>
    <dgm:cxn modelId="{BA5A2545-D83C-4F2F-9ABF-830E4EA484A8}" type="presParOf" srcId="{7D945FEB-5361-4AD6-B303-4D1323345AFD}" destId="{5D7DF315-D2F7-466C-B680-AD076590EABC}" srcOrd="2" destOrd="0" presId="urn:microsoft.com/office/officeart/2005/8/layout/orgChart1"/>
    <dgm:cxn modelId="{F2630ADC-E72F-4175-A4E5-A92FDB1B19DD}" type="presParOf" srcId="{C59FB238-8008-4F2B-BC0E-E3651B88BA6C}" destId="{DC8B994C-FFB3-4EA3-9D85-F30443BCB270}" srcOrd="2" destOrd="0" presId="urn:microsoft.com/office/officeart/2005/8/layout/orgChart1"/>
    <dgm:cxn modelId="{F3A7B026-58CD-4C9C-A7A3-7FB23F8B668E}" type="presParOf" srcId="{C59FB238-8008-4F2B-BC0E-E3651B88BA6C}" destId="{A6B72F75-1778-48C5-A7E9-D7A3B9D90F78}" srcOrd="3" destOrd="0" presId="urn:microsoft.com/office/officeart/2005/8/layout/orgChart1"/>
    <dgm:cxn modelId="{4C54544B-4440-42C9-A38D-4953876DFE59}" type="presParOf" srcId="{A6B72F75-1778-48C5-A7E9-D7A3B9D90F78}" destId="{1E726FA3-AA1F-4DCD-A8E2-057242DC7FA1}" srcOrd="0" destOrd="0" presId="urn:microsoft.com/office/officeart/2005/8/layout/orgChart1"/>
    <dgm:cxn modelId="{C6BE028D-BE71-4628-8B6A-5385D1B77A4E}" type="presParOf" srcId="{1E726FA3-AA1F-4DCD-A8E2-057242DC7FA1}" destId="{36764980-1D1F-4C31-B763-CBCF535AD06A}" srcOrd="0" destOrd="0" presId="urn:microsoft.com/office/officeart/2005/8/layout/orgChart1"/>
    <dgm:cxn modelId="{953B7A4B-C6AB-4BF0-AE27-B09C3A6A7988}" type="presParOf" srcId="{1E726FA3-AA1F-4DCD-A8E2-057242DC7FA1}" destId="{7530D462-01FB-4E6D-9118-B2167C4604DC}" srcOrd="1" destOrd="0" presId="urn:microsoft.com/office/officeart/2005/8/layout/orgChart1"/>
    <dgm:cxn modelId="{042CAA59-0284-4B78-8206-14F23631C958}" type="presParOf" srcId="{A6B72F75-1778-48C5-A7E9-D7A3B9D90F78}" destId="{4AB6EF25-E66F-46AD-95C6-385EADF81F8B}" srcOrd="1" destOrd="0" presId="urn:microsoft.com/office/officeart/2005/8/layout/orgChart1"/>
    <dgm:cxn modelId="{4655BA80-017A-4B9C-B3C4-BB0CA35268DC}" type="presParOf" srcId="{A6B72F75-1778-48C5-A7E9-D7A3B9D90F78}" destId="{5DF0331A-8663-4F66-8867-F68E8D34C331}" srcOrd="2" destOrd="0" presId="urn:microsoft.com/office/officeart/2005/8/layout/orgChart1"/>
    <dgm:cxn modelId="{1B1BCB1C-FFDE-4D0C-B9F5-0C4029F97627}" type="presParOf" srcId="{C59FB238-8008-4F2B-BC0E-E3651B88BA6C}" destId="{C795F404-0DA7-405E-81AE-25EEDEC41780}" srcOrd="4" destOrd="0" presId="urn:microsoft.com/office/officeart/2005/8/layout/orgChart1"/>
    <dgm:cxn modelId="{13F46D23-9911-4FC2-8015-ECF5CE31F45B}" type="presParOf" srcId="{C59FB238-8008-4F2B-BC0E-E3651B88BA6C}" destId="{AD200E74-53F1-4DB5-A570-0CC6F572A8D1}" srcOrd="5" destOrd="0" presId="urn:microsoft.com/office/officeart/2005/8/layout/orgChart1"/>
    <dgm:cxn modelId="{3D286161-D6CF-42AE-BAAF-44634A98557D}" type="presParOf" srcId="{AD200E74-53F1-4DB5-A570-0CC6F572A8D1}" destId="{163ED4A3-4445-4E21-A75C-652C052FCCD5}" srcOrd="0" destOrd="0" presId="urn:microsoft.com/office/officeart/2005/8/layout/orgChart1"/>
    <dgm:cxn modelId="{8EF8D69C-EDC1-46DF-9601-B79358CA7BBC}" type="presParOf" srcId="{163ED4A3-4445-4E21-A75C-652C052FCCD5}" destId="{F721A2C3-B74E-4B93-9D96-D10D55204BB2}" srcOrd="0" destOrd="0" presId="urn:microsoft.com/office/officeart/2005/8/layout/orgChart1"/>
    <dgm:cxn modelId="{A6EE027F-56B5-49D1-B181-E9F6A253BA5E}" type="presParOf" srcId="{163ED4A3-4445-4E21-A75C-652C052FCCD5}" destId="{84E38710-D049-4F4F-A352-B9C5CABE829D}" srcOrd="1" destOrd="0" presId="urn:microsoft.com/office/officeart/2005/8/layout/orgChart1"/>
    <dgm:cxn modelId="{C911F53C-BF2C-4CD7-8267-B21908B2FF2F}" type="presParOf" srcId="{AD200E74-53F1-4DB5-A570-0CC6F572A8D1}" destId="{BC99E0E4-716F-410A-8A0F-C2B90704E717}" srcOrd="1" destOrd="0" presId="urn:microsoft.com/office/officeart/2005/8/layout/orgChart1"/>
    <dgm:cxn modelId="{B745BA92-368F-44F4-A824-FD41C20928E4}" type="presParOf" srcId="{AD200E74-53F1-4DB5-A570-0CC6F572A8D1}" destId="{2FF64663-7584-420A-AF91-2063BCE1A82C}" srcOrd="2" destOrd="0" presId="urn:microsoft.com/office/officeart/2005/8/layout/orgChart1"/>
    <dgm:cxn modelId="{E2390BDB-4761-49BA-9180-B6F14A732962}" type="presParOf" srcId="{6387B0E3-D0C5-444F-9B93-1D720208E895}" destId="{8349AF55-683F-4F61-A046-C0C13CC76D05}" srcOrd="2" destOrd="0" presId="urn:microsoft.com/office/officeart/2005/8/layout/orgChart1"/>
    <dgm:cxn modelId="{7BD6394D-8F17-4BB4-A796-453E0B0FEF31}" type="presParOf" srcId="{B3767120-1D84-4CBF-A42A-7963C47D4D0B}" destId="{2D62CCC2-632D-47CD-A6FB-AF9328D9C4C3}" srcOrd="2" destOrd="0" presId="urn:microsoft.com/office/officeart/2005/8/layout/orgChart1"/>
    <dgm:cxn modelId="{7838C3D0-25AC-4BFE-824D-CEFAEAF8AE3B}" type="presParOf" srcId="{B3767120-1D84-4CBF-A42A-7963C47D4D0B}" destId="{DFA3A91B-E297-4234-BFEC-E07215C4A4F0}" srcOrd="3" destOrd="0" presId="urn:microsoft.com/office/officeart/2005/8/layout/orgChart1"/>
    <dgm:cxn modelId="{398A7B00-0328-4A22-B05C-8FB008089D82}" type="presParOf" srcId="{DFA3A91B-E297-4234-BFEC-E07215C4A4F0}" destId="{09E9B259-37C6-4DAC-B977-55FDCFAE76AB}" srcOrd="0" destOrd="0" presId="urn:microsoft.com/office/officeart/2005/8/layout/orgChart1"/>
    <dgm:cxn modelId="{58E0FFDE-CA18-4AF2-AEB9-7C463A134CAC}" type="presParOf" srcId="{09E9B259-37C6-4DAC-B977-55FDCFAE76AB}" destId="{43FE5B09-28AC-4B39-BFE9-1C78BB5E9846}" srcOrd="0" destOrd="0" presId="urn:microsoft.com/office/officeart/2005/8/layout/orgChart1"/>
    <dgm:cxn modelId="{8DCF7358-67FC-4188-A36B-EBC493E4155A}" type="presParOf" srcId="{09E9B259-37C6-4DAC-B977-55FDCFAE76AB}" destId="{71D9930B-3E8E-46AF-9F9D-50C9E28A14EA}" srcOrd="1" destOrd="0" presId="urn:microsoft.com/office/officeart/2005/8/layout/orgChart1"/>
    <dgm:cxn modelId="{23BF2C8F-8CAA-47CC-B209-F9D7CB866B50}" type="presParOf" srcId="{DFA3A91B-E297-4234-BFEC-E07215C4A4F0}" destId="{CE602C07-2778-4BEB-9377-8EF46EEC3364}" srcOrd="1" destOrd="0" presId="urn:microsoft.com/office/officeart/2005/8/layout/orgChart1"/>
    <dgm:cxn modelId="{16DF71A8-376C-46AF-B665-ECA2F17CCDAF}" type="presParOf" srcId="{CE602C07-2778-4BEB-9377-8EF46EEC3364}" destId="{F3A6A1AF-C065-491A-9B9F-6AC6C886A573}" srcOrd="0" destOrd="0" presId="urn:microsoft.com/office/officeart/2005/8/layout/orgChart1"/>
    <dgm:cxn modelId="{C10A89EA-ABD0-4D88-A65D-50E98B51739C}" type="presParOf" srcId="{CE602C07-2778-4BEB-9377-8EF46EEC3364}" destId="{5AD9586A-22ED-482B-AB10-96CE9308A8D1}" srcOrd="1" destOrd="0" presId="urn:microsoft.com/office/officeart/2005/8/layout/orgChart1"/>
    <dgm:cxn modelId="{B68C1E7F-2306-4BAD-93C4-5BAA36D15812}" type="presParOf" srcId="{5AD9586A-22ED-482B-AB10-96CE9308A8D1}" destId="{BC401DEC-D9EE-4A52-A4BF-CD5CF4CE95EB}" srcOrd="0" destOrd="0" presId="urn:microsoft.com/office/officeart/2005/8/layout/orgChart1"/>
    <dgm:cxn modelId="{F9B71188-6CEC-41ED-BE8C-0DB8E7269B5C}" type="presParOf" srcId="{BC401DEC-D9EE-4A52-A4BF-CD5CF4CE95EB}" destId="{A8A43A45-90AB-4F0B-9084-0D14C71D65E1}" srcOrd="0" destOrd="0" presId="urn:microsoft.com/office/officeart/2005/8/layout/orgChart1"/>
    <dgm:cxn modelId="{774BE688-3531-4607-8FF6-76148BD2EB74}" type="presParOf" srcId="{BC401DEC-D9EE-4A52-A4BF-CD5CF4CE95EB}" destId="{2C183873-6D40-4E8A-85C6-17B11FDDE65A}" srcOrd="1" destOrd="0" presId="urn:microsoft.com/office/officeart/2005/8/layout/orgChart1"/>
    <dgm:cxn modelId="{EE377399-4DBE-4AB0-AAD3-2672BC783E23}" type="presParOf" srcId="{5AD9586A-22ED-482B-AB10-96CE9308A8D1}" destId="{5021666D-94CC-42EC-8201-FC8D1D0E328B}" srcOrd="1" destOrd="0" presId="urn:microsoft.com/office/officeart/2005/8/layout/orgChart1"/>
    <dgm:cxn modelId="{00F36B58-B651-4EEE-A8B9-CF37BEC7FCAB}" type="presParOf" srcId="{5AD9586A-22ED-482B-AB10-96CE9308A8D1}" destId="{98B6BC08-FD7A-4592-83DE-B656F5E44A89}" srcOrd="2" destOrd="0" presId="urn:microsoft.com/office/officeart/2005/8/layout/orgChart1"/>
    <dgm:cxn modelId="{93DA4626-D1E3-4C27-930D-A3CE17C31EC6}" type="presParOf" srcId="{CE602C07-2778-4BEB-9377-8EF46EEC3364}" destId="{4C203ED4-6493-487D-88B2-D43CA89A714C}" srcOrd="2" destOrd="0" presId="urn:microsoft.com/office/officeart/2005/8/layout/orgChart1"/>
    <dgm:cxn modelId="{63959EA9-C836-4F70-938D-D196A1374A44}" type="presParOf" srcId="{CE602C07-2778-4BEB-9377-8EF46EEC3364}" destId="{009DFB59-F6FC-441E-A568-A553B94CC9C6}" srcOrd="3" destOrd="0" presId="urn:microsoft.com/office/officeart/2005/8/layout/orgChart1"/>
    <dgm:cxn modelId="{FF243506-0234-4EE9-AD62-20CFC6A1850B}" type="presParOf" srcId="{009DFB59-F6FC-441E-A568-A553B94CC9C6}" destId="{E8118F91-3129-4A17-BAF4-8FEB49368EE0}" srcOrd="0" destOrd="0" presId="urn:microsoft.com/office/officeart/2005/8/layout/orgChart1"/>
    <dgm:cxn modelId="{DD65715A-CD77-4349-AFA4-B0C1EE8B1698}" type="presParOf" srcId="{E8118F91-3129-4A17-BAF4-8FEB49368EE0}" destId="{18F5216A-D74D-45D9-8EB3-3C45223454C9}" srcOrd="0" destOrd="0" presId="urn:microsoft.com/office/officeart/2005/8/layout/orgChart1"/>
    <dgm:cxn modelId="{4E2A0942-A59B-4A4D-B030-CAFD0B1B6A62}" type="presParOf" srcId="{E8118F91-3129-4A17-BAF4-8FEB49368EE0}" destId="{5F232BDD-EEA6-4F5D-A6CC-275A9E5D3873}" srcOrd="1" destOrd="0" presId="urn:microsoft.com/office/officeart/2005/8/layout/orgChart1"/>
    <dgm:cxn modelId="{E5145AF2-D995-4618-980D-FAC9D42B05D3}" type="presParOf" srcId="{009DFB59-F6FC-441E-A568-A553B94CC9C6}" destId="{A3B50B12-D250-49E7-A2FA-7E84645D48B9}" srcOrd="1" destOrd="0" presId="urn:microsoft.com/office/officeart/2005/8/layout/orgChart1"/>
    <dgm:cxn modelId="{7CA96B0A-F4B3-46B3-8909-21737D821490}" type="presParOf" srcId="{009DFB59-F6FC-441E-A568-A553B94CC9C6}" destId="{75B866EA-8F3B-4F0C-AC85-B5DDD3C05A5B}" srcOrd="2" destOrd="0" presId="urn:microsoft.com/office/officeart/2005/8/layout/orgChart1"/>
    <dgm:cxn modelId="{61BDC13C-143B-4A63-96E8-F0999D95BB1B}" type="presParOf" srcId="{CE602C07-2778-4BEB-9377-8EF46EEC3364}" destId="{A4260DFB-585E-4A73-816C-F9AEEDDA9394}" srcOrd="4" destOrd="0" presId="urn:microsoft.com/office/officeart/2005/8/layout/orgChart1"/>
    <dgm:cxn modelId="{0C4148E1-3125-4141-8F71-CA315484B3AD}" type="presParOf" srcId="{CE602C07-2778-4BEB-9377-8EF46EEC3364}" destId="{65359CC4-1199-40A6-9A5D-E339CCE06195}" srcOrd="5" destOrd="0" presId="urn:microsoft.com/office/officeart/2005/8/layout/orgChart1"/>
    <dgm:cxn modelId="{D2412DA6-A49C-4899-A184-4E6D22A58FF6}" type="presParOf" srcId="{65359CC4-1199-40A6-9A5D-E339CCE06195}" destId="{685BD7F1-E41B-4D8B-83BF-47C6EAEA87D0}" srcOrd="0" destOrd="0" presId="urn:microsoft.com/office/officeart/2005/8/layout/orgChart1"/>
    <dgm:cxn modelId="{073249EC-40BC-4352-AC24-51ABA74E84DC}" type="presParOf" srcId="{685BD7F1-E41B-4D8B-83BF-47C6EAEA87D0}" destId="{93931096-6600-46C3-98DA-74AC02AC0B71}" srcOrd="0" destOrd="0" presId="urn:microsoft.com/office/officeart/2005/8/layout/orgChart1"/>
    <dgm:cxn modelId="{5453A546-1605-4975-B242-3320EFE9087C}" type="presParOf" srcId="{685BD7F1-E41B-4D8B-83BF-47C6EAEA87D0}" destId="{FCDEEE3A-FB67-4F1F-BECE-E1F592365CFC}" srcOrd="1" destOrd="0" presId="urn:microsoft.com/office/officeart/2005/8/layout/orgChart1"/>
    <dgm:cxn modelId="{6D69C3C8-6F28-489E-98D1-16F1370F09B7}" type="presParOf" srcId="{65359CC4-1199-40A6-9A5D-E339CCE06195}" destId="{02632E63-6953-4BBB-9358-D0D0A0F62BB7}" srcOrd="1" destOrd="0" presId="urn:microsoft.com/office/officeart/2005/8/layout/orgChart1"/>
    <dgm:cxn modelId="{CED04932-ED2E-4755-9A9B-F8D86D5F3E3E}" type="presParOf" srcId="{65359CC4-1199-40A6-9A5D-E339CCE06195}" destId="{6356888D-CFDB-4DAB-958C-0207B0E8E05F}" srcOrd="2" destOrd="0" presId="urn:microsoft.com/office/officeart/2005/8/layout/orgChart1"/>
    <dgm:cxn modelId="{08736837-555F-4801-82C2-70F11D783D44}" type="presParOf" srcId="{CE602C07-2778-4BEB-9377-8EF46EEC3364}" destId="{30705EA0-ACCA-48DF-9172-3EAFB681551B}" srcOrd="6" destOrd="0" presId="urn:microsoft.com/office/officeart/2005/8/layout/orgChart1"/>
    <dgm:cxn modelId="{3FA95872-4F16-4A9D-97FF-39F215F10BF7}" type="presParOf" srcId="{CE602C07-2778-4BEB-9377-8EF46EEC3364}" destId="{37F39EB6-834B-47FA-85AD-D68D6FA4FB7A}" srcOrd="7" destOrd="0" presId="urn:microsoft.com/office/officeart/2005/8/layout/orgChart1"/>
    <dgm:cxn modelId="{71850324-2E31-4CFD-B321-56E02C7737FB}" type="presParOf" srcId="{37F39EB6-834B-47FA-85AD-D68D6FA4FB7A}" destId="{A86C9141-103E-4B35-A9CF-76FFA2072822}" srcOrd="0" destOrd="0" presId="urn:microsoft.com/office/officeart/2005/8/layout/orgChart1"/>
    <dgm:cxn modelId="{97938DC9-1715-4F35-BCD7-E5932EEED26E}" type="presParOf" srcId="{A86C9141-103E-4B35-A9CF-76FFA2072822}" destId="{0D06EEA7-4445-454A-8592-5674FAFF84D6}" srcOrd="0" destOrd="0" presId="urn:microsoft.com/office/officeart/2005/8/layout/orgChart1"/>
    <dgm:cxn modelId="{BC326762-92CC-488D-BF63-CD4EA6B16938}" type="presParOf" srcId="{A86C9141-103E-4B35-A9CF-76FFA2072822}" destId="{5D863696-ABCE-44D8-BBCB-6DA27C55A5D2}" srcOrd="1" destOrd="0" presId="urn:microsoft.com/office/officeart/2005/8/layout/orgChart1"/>
    <dgm:cxn modelId="{10F395B2-DF99-455E-A73A-40178A77557A}" type="presParOf" srcId="{37F39EB6-834B-47FA-85AD-D68D6FA4FB7A}" destId="{8B746174-9CF3-40B7-8971-987D0D31D16C}" srcOrd="1" destOrd="0" presId="urn:microsoft.com/office/officeart/2005/8/layout/orgChart1"/>
    <dgm:cxn modelId="{0877843A-1E53-43F0-B6B4-E66E34EFA6B8}" type="presParOf" srcId="{37F39EB6-834B-47FA-85AD-D68D6FA4FB7A}" destId="{B207795B-2F0A-41F3-A23F-D11411165198}" srcOrd="2" destOrd="0" presId="urn:microsoft.com/office/officeart/2005/8/layout/orgChart1"/>
    <dgm:cxn modelId="{627FFD97-3FA1-43F8-BC7F-F1607E861100}" type="presParOf" srcId="{DFA3A91B-E297-4234-BFEC-E07215C4A4F0}" destId="{5BC729F7-A32A-4515-A574-DFBC30FDA19B}" srcOrd="2" destOrd="0" presId="urn:microsoft.com/office/officeart/2005/8/layout/orgChart1"/>
    <dgm:cxn modelId="{0D65AE45-C4B7-4B15-BA69-2C7CC2136C90}" type="presParOf" srcId="{B3767120-1D84-4CBF-A42A-7963C47D4D0B}" destId="{04B36B14-FDED-4614-BB74-97EE5BB8F52D}" srcOrd="4" destOrd="0" presId="urn:microsoft.com/office/officeart/2005/8/layout/orgChart1"/>
    <dgm:cxn modelId="{CA30B9E4-D00B-4F37-B12D-94B44B4E97D3}" type="presParOf" srcId="{B3767120-1D84-4CBF-A42A-7963C47D4D0B}" destId="{106AC147-102C-49EA-AA5F-EF5284021786}" srcOrd="5" destOrd="0" presId="urn:microsoft.com/office/officeart/2005/8/layout/orgChart1"/>
    <dgm:cxn modelId="{1841EDF5-A9BC-4156-BBE4-D5B7C3A9E5D1}" type="presParOf" srcId="{106AC147-102C-49EA-AA5F-EF5284021786}" destId="{A185BBF1-A3C4-4167-BD2D-01117B8865F1}" srcOrd="0" destOrd="0" presId="urn:microsoft.com/office/officeart/2005/8/layout/orgChart1"/>
    <dgm:cxn modelId="{15CA7C13-37A1-4A02-B047-FE4F965115DA}" type="presParOf" srcId="{A185BBF1-A3C4-4167-BD2D-01117B8865F1}" destId="{6F5EABE9-ADCF-4968-81B3-04689CB922B9}" srcOrd="0" destOrd="0" presId="urn:microsoft.com/office/officeart/2005/8/layout/orgChart1"/>
    <dgm:cxn modelId="{6B530852-021B-4889-8B9B-2E8178BE5165}" type="presParOf" srcId="{A185BBF1-A3C4-4167-BD2D-01117B8865F1}" destId="{492EE907-4099-4D6E-8EF8-4A500681DBF1}" srcOrd="1" destOrd="0" presId="urn:microsoft.com/office/officeart/2005/8/layout/orgChart1"/>
    <dgm:cxn modelId="{0AF75155-0D03-4947-9D9E-71EA8C70E77B}" type="presParOf" srcId="{106AC147-102C-49EA-AA5F-EF5284021786}" destId="{604BD7F7-0389-4ECB-B419-E102FB55CEAC}" srcOrd="1" destOrd="0" presId="urn:microsoft.com/office/officeart/2005/8/layout/orgChart1"/>
    <dgm:cxn modelId="{1CE9BCEC-2F0B-4ECB-9216-31FD099FB7FC}" type="presParOf" srcId="{604BD7F7-0389-4ECB-B419-E102FB55CEAC}" destId="{EA7938CB-A733-44C1-A071-6CDE35869C6C}" srcOrd="0" destOrd="0" presId="urn:microsoft.com/office/officeart/2005/8/layout/orgChart1"/>
    <dgm:cxn modelId="{B49AAC6E-8316-4F5C-9058-8D7CC2C422DB}" type="presParOf" srcId="{604BD7F7-0389-4ECB-B419-E102FB55CEAC}" destId="{C9F3BD78-2D0F-4066-8C62-A4BEFC28C0D0}" srcOrd="1" destOrd="0" presId="urn:microsoft.com/office/officeart/2005/8/layout/orgChart1"/>
    <dgm:cxn modelId="{E23D895B-8BA8-46AD-841B-539928D2CD3B}" type="presParOf" srcId="{C9F3BD78-2D0F-4066-8C62-A4BEFC28C0D0}" destId="{2F419F38-8B4E-4E64-A62C-E8BE420A6A18}" srcOrd="0" destOrd="0" presId="urn:microsoft.com/office/officeart/2005/8/layout/orgChart1"/>
    <dgm:cxn modelId="{6CE81EBC-2813-4444-9F7B-038A161505FD}" type="presParOf" srcId="{2F419F38-8B4E-4E64-A62C-E8BE420A6A18}" destId="{77B0771F-7A97-4F55-B5C4-7CE3A24EA5FB}" srcOrd="0" destOrd="0" presId="urn:microsoft.com/office/officeart/2005/8/layout/orgChart1"/>
    <dgm:cxn modelId="{7697227B-4218-4C86-B3E3-50853E7A11C2}" type="presParOf" srcId="{2F419F38-8B4E-4E64-A62C-E8BE420A6A18}" destId="{3F7C118D-3B24-43E5-AF62-CC83C5D3392C}" srcOrd="1" destOrd="0" presId="urn:microsoft.com/office/officeart/2005/8/layout/orgChart1"/>
    <dgm:cxn modelId="{3A9C3661-1347-4A93-956B-8FB365667742}" type="presParOf" srcId="{C9F3BD78-2D0F-4066-8C62-A4BEFC28C0D0}" destId="{6C7F5E37-52AC-45D6-9664-BC3749591BBC}" srcOrd="1" destOrd="0" presId="urn:microsoft.com/office/officeart/2005/8/layout/orgChart1"/>
    <dgm:cxn modelId="{0DF762D3-1899-42F1-85FB-34E8AA54BEFE}" type="presParOf" srcId="{C9F3BD78-2D0F-4066-8C62-A4BEFC28C0D0}" destId="{FEFB6E19-5B2F-4FA2-B32C-4A76C28145E3}" srcOrd="2" destOrd="0" presId="urn:microsoft.com/office/officeart/2005/8/layout/orgChart1"/>
    <dgm:cxn modelId="{2FFE8FED-D4BF-4DF7-97D7-5D5121FA1D04}" type="presParOf" srcId="{604BD7F7-0389-4ECB-B419-E102FB55CEAC}" destId="{900AFB7F-2B1C-4F2F-90FD-534B3C5D185A}" srcOrd="2" destOrd="0" presId="urn:microsoft.com/office/officeart/2005/8/layout/orgChart1"/>
    <dgm:cxn modelId="{D9B3FA0F-0E12-4F52-8B52-EBEB9205228F}" type="presParOf" srcId="{604BD7F7-0389-4ECB-B419-E102FB55CEAC}" destId="{D2CE9645-9167-4CA8-9FAC-E5772265F1F1}" srcOrd="3" destOrd="0" presId="urn:microsoft.com/office/officeart/2005/8/layout/orgChart1"/>
    <dgm:cxn modelId="{1D5A2929-56DB-493E-A182-7628BE2A7BE2}" type="presParOf" srcId="{D2CE9645-9167-4CA8-9FAC-E5772265F1F1}" destId="{C62351E5-F559-42B9-866D-4EA52F6E0AC4}" srcOrd="0" destOrd="0" presId="urn:microsoft.com/office/officeart/2005/8/layout/orgChart1"/>
    <dgm:cxn modelId="{AD553E32-CAF8-4D7C-9787-5BE069F4F954}" type="presParOf" srcId="{C62351E5-F559-42B9-866D-4EA52F6E0AC4}" destId="{7F2C8B3F-CC73-4AF4-B493-142FDFBE4550}" srcOrd="0" destOrd="0" presId="urn:microsoft.com/office/officeart/2005/8/layout/orgChart1"/>
    <dgm:cxn modelId="{E4D048EC-216B-40E5-ACF3-9DF812928117}" type="presParOf" srcId="{C62351E5-F559-42B9-866D-4EA52F6E0AC4}" destId="{91F4DFD6-08F3-4398-8E0A-317B7ABFFAC4}" srcOrd="1" destOrd="0" presId="urn:microsoft.com/office/officeart/2005/8/layout/orgChart1"/>
    <dgm:cxn modelId="{ED2A265B-53E8-470A-B6DE-A42E0BE1CE03}" type="presParOf" srcId="{D2CE9645-9167-4CA8-9FAC-E5772265F1F1}" destId="{5A4AA5E7-9412-4F52-B3B0-D34C8376690E}" srcOrd="1" destOrd="0" presId="urn:microsoft.com/office/officeart/2005/8/layout/orgChart1"/>
    <dgm:cxn modelId="{1F2A6010-2D42-4D8C-91E2-3D632B4E83E9}" type="presParOf" srcId="{D2CE9645-9167-4CA8-9FAC-E5772265F1F1}" destId="{56D83448-7242-4F44-A164-1F2F2EA1B593}" srcOrd="2" destOrd="0" presId="urn:microsoft.com/office/officeart/2005/8/layout/orgChart1"/>
    <dgm:cxn modelId="{D62A0E3F-A339-4010-9649-172F3860F460}" type="presParOf" srcId="{604BD7F7-0389-4ECB-B419-E102FB55CEAC}" destId="{1679F611-1768-4DF1-92D2-2ABA33F52954}" srcOrd="4" destOrd="0" presId="urn:microsoft.com/office/officeart/2005/8/layout/orgChart1"/>
    <dgm:cxn modelId="{35B7CCD4-5D27-4935-A08F-8860CFB99567}" type="presParOf" srcId="{604BD7F7-0389-4ECB-B419-E102FB55CEAC}" destId="{3EB3B2BF-83E3-43EC-8B4A-22E5A8006260}" srcOrd="5" destOrd="0" presId="urn:microsoft.com/office/officeart/2005/8/layout/orgChart1"/>
    <dgm:cxn modelId="{837110D9-36F7-4D38-9601-D431620FFF4D}" type="presParOf" srcId="{3EB3B2BF-83E3-43EC-8B4A-22E5A8006260}" destId="{AF597625-1C9B-4EFB-89C7-964B32D14CF1}" srcOrd="0" destOrd="0" presId="urn:microsoft.com/office/officeart/2005/8/layout/orgChart1"/>
    <dgm:cxn modelId="{0F7A915B-11CE-4B03-8B21-CFE7B95782D0}" type="presParOf" srcId="{AF597625-1C9B-4EFB-89C7-964B32D14CF1}" destId="{BC6D9694-E2FB-466A-9121-F6DA2CA4E423}" srcOrd="0" destOrd="0" presId="urn:microsoft.com/office/officeart/2005/8/layout/orgChart1"/>
    <dgm:cxn modelId="{33C068A8-C7C7-4E33-B3CF-9EF7B807E00A}" type="presParOf" srcId="{AF597625-1C9B-4EFB-89C7-964B32D14CF1}" destId="{ED85CF53-B366-40FC-A1B2-AC0A7E230913}" srcOrd="1" destOrd="0" presId="urn:microsoft.com/office/officeart/2005/8/layout/orgChart1"/>
    <dgm:cxn modelId="{4F9D07B2-43F9-4FF8-9F60-6CEC901EE7F9}" type="presParOf" srcId="{3EB3B2BF-83E3-43EC-8B4A-22E5A8006260}" destId="{516CA77B-2490-4C12-BE3E-3D3BE5F54CF1}" srcOrd="1" destOrd="0" presId="urn:microsoft.com/office/officeart/2005/8/layout/orgChart1"/>
    <dgm:cxn modelId="{981D938A-21AB-4C23-A1CF-DD2AE8192C00}" type="presParOf" srcId="{3EB3B2BF-83E3-43EC-8B4A-22E5A8006260}" destId="{0992B6CE-88A6-4CA3-BBCB-69055B955878}" srcOrd="2" destOrd="0" presId="urn:microsoft.com/office/officeart/2005/8/layout/orgChart1"/>
    <dgm:cxn modelId="{0CB34F79-0933-4DD3-AAB8-52CA301A0746}" type="presParOf" srcId="{604BD7F7-0389-4ECB-B419-E102FB55CEAC}" destId="{9546EDD2-AE2D-4CCC-A153-7110360B9BEC}" srcOrd="6" destOrd="0" presId="urn:microsoft.com/office/officeart/2005/8/layout/orgChart1"/>
    <dgm:cxn modelId="{478E7345-7FF7-4978-A07A-678AB3F583DD}" type="presParOf" srcId="{604BD7F7-0389-4ECB-B419-E102FB55CEAC}" destId="{9FE3402F-57AD-46ED-9414-75CC69E8BB3C}" srcOrd="7" destOrd="0" presId="urn:microsoft.com/office/officeart/2005/8/layout/orgChart1"/>
    <dgm:cxn modelId="{1B90C90A-FEC3-41FF-ADF6-FA9FECE6558F}" type="presParOf" srcId="{9FE3402F-57AD-46ED-9414-75CC69E8BB3C}" destId="{8C2A3C82-3AAD-41A6-82CB-8B35916F6F8D}" srcOrd="0" destOrd="0" presId="urn:microsoft.com/office/officeart/2005/8/layout/orgChart1"/>
    <dgm:cxn modelId="{F0C81B19-5FB7-4F79-B69E-2512A2D7EA7F}" type="presParOf" srcId="{8C2A3C82-3AAD-41A6-82CB-8B35916F6F8D}" destId="{34C6C65D-2FB2-4BC6-85E7-4981197D899A}" srcOrd="0" destOrd="0" presId="urn:microsoft.com/office/officeart/2005/8/layout/orgChart1"/>
    <dgm:cxn modelId="{9516289D-FF8E-49EC-8465-F4AC5288A0C7}" type="presParOf" srcId="{8C2A3C82-3AAD-41A6-82CB-8B35916F6F8D}" destId="{D9F8732B-C34D-4E46-89C0-591665126EF3}" srcOrd="1" destOrd="0" presId="urn:microsoft.com/office/officeart/2005/8/layout/orgChart1"/>
    <dgm:cxn modelId="{F2C6D23C-FEB3-46BA-88C6-9A1963184CAB}" type="presParOf" srcId="{9FE3402F-57AD-46ED-9414-75CC69E8BB3C}" destId="{1E256350-75A4-4879-934C-E6C51E7ACD72}" srcOrd="1" destOrd="0" presId="urn:microsoft.com/office/officeart/2005/8/layout/orgChart1"/>
    <dgm:cxn modelId="{A649B25B-BC33-4A19-816B-91323CF42565}" type="presParOf" srcId="{9FE3402F-57AD-46ED-9414-75CC69E8BB3C}" destId="{23AD8370-2A2A-4C04-815A-4FA7C374EABB}" srcOrd="2" destOrd="0" presId="urn:microsoft.com/office/officeart/2005/8/layout/orgChart1"/>
    <dgm:cxn modelId="{87E2C4DD-593C-49F2-9EA0-6E94CE812238}" type="presParOf" srcId="{604BD7F7-0389-4ECB-B419-E102FB55CEAC}" destId="{9F09995D-9ADF-410B-B9C8-980791CB2CCA}" srcOrd="8" destOrd="0" presId="urn:microsoft.com/office/officeart/2005/8/layout/orgChart1"/>
    <dgm:cxn modelId="{5BF666C6-E820-4364-B9FE-05A84BCE4B26}" type="presParOf" srcId="{604BD7F7-0389-4ECB-B419-E102FB55CEAC}" destId="{729C1684-45D7-415C-807D-87B4138A02A2}" srcOrd="9" destOrd="0" presId="urn:microsoft.com/office/officeart/2005/8/layout/orgChart1"/>
    <dgm:cxn modelId="{AA9B5557-6DBB-4DE4-8D02-6E29E4132C61}" type="presParOf" srcId="{729C1684-45D7-415C-807D-87B4138A02A2}" destId="{B6553E9A-67F4-47BD-B1CA-34EA958D6C88}" srcOrd="0" destOrd="0" presId="urn:microsoft.com/office/officeart/2005/8/layout/orgChart1"/>
    <dgm:cxn modelId="{900FB263-EC5E-4007-B1DF-0C6A13E9AA13}" type="presParOf" srcId="{B6553E9A-67F4-47BD-B1CA-34EA958D6C88}" destId="{9B3E7BAB-573F-4360-9513-1138FF22520D}" srcOrd="0" destOrd="0" presId="urn:microsoft.com/office/officeart/2005/8/layout/orgChart1"/>
    <dgm:cxn modelId="{3FD2E049-DCFF-4C4D-9EC6-443D6B00D8FF}" type="presParOf" srcId="{B6553E9A-67F4-47BD-B1CA-34EA958D6C88}" destId="{3A7E4F99-5702-44D9-A6EF-995F4A043CF2}" srcOrd="1" destOrd="0" presId="urn:microsoft.com/office/officeart/2005/8/layout/orgChart1"/>
    <dgm:cxn modelId="{C9F9B1B8-B253-4461-A258-2499ED864D8E}" type="presParOf" srcId="{729C1684-45D7-415C-807D-87B4138A02A2}" destId="{2A79C507-D6EF-446C-AE25-810C09200218}" srcOrd="1" destOrd="0" presId="urn:microsoft.com/office/officeart/2005/8/layout/orgChart1"/>
    <dgm:cxn modelId="{85075CE7-8101-4C6B-AB59-10CF6CAF5421}" type="presParOf" srcId="{729C1684-45D7-415C-807D-87B4138A02A2}" destId="{F38401C1-EF18-4082-BEE1-17349386AA67}" srcOrd="2" destOrd="0" presId="urn:microsoft.com/office/officeart/2005/8/layout/orgChart1"/>
    <dgm:cxn modelId="{9F9B4192-82D9-448F-BF6E-BF2F561320D4}" type="presParOf" srcId="{604BD7F7-0389-4ECB-B419-E102FB55CEAC}" destId="{65B3E0A9-DA86-4F99-8CB2-5CBC406D00D0}" srcOrd="10" destOrd="0" presId="urn:microsoft.com/office/officeart/2005/8/layout/orgChart1"/>
    <dgm:cxn modelId="{65964E58-70D2-4DF0-9597-0BC4556B3DC5}" type="presParOf" srcId="{604BD7F7-0389-4ECB-B419-E102FB55CEAC}" destId="{05CC4B54-A44D-4D30-A37A-71F387F6A9E3}" srcOrd="11" destOrd="0" presId="urn:microsoft.com/office/officeart/2005/8/layout/orgChart1"/>
    <dgm:cxn modelId="{09ACC202-CED1-41D3-9F63-54779DE1D220}" type="presParOf" srcId="{05CC4B54-A44D-4D30-A37A-71F387F6A9E3}" destId="{A1CD1966-B9FE-496D-9344-1E7F97D1AD4F}" srcOrd="0" destOrd="0" presId="urn:microsoft.com/office/officeart/2005/8/layout/orgChart1"/>
    <dgm:cxn modelId="{2B2E8266-82D6-4E37-8EB3-FD41E8EE840D}" type="presParOf" srcId="{A1CD1966-B9FE-496D-9344-1E7F97D1AD4F}" destId="{4736FCD0-8E0A-4FF6-8C5C-59C75434551D}" srcOrd="0" destOrd="0" presId="urn:microsoft.com/office/officeart/2005/8/layout/orgChart1"/>
    <dgm:cxn modelId="{9E0F87B9-4E49-4B0E-9322-C2386E88B331}" type="presParOf" srcId="{A1CD1966-B9FE-496D-9344-1E7F97D1AD4F}" destId="{C3B918D2-E499-4DBC-900C-84E3AC5CDE48}" srcOrd="1" destOrd="0" presId="urn:microsoft.com/office/officeart/2005/8/layout/orgChart1"/>
    <dgm:cxn modelId="{4E504D9C-082F-4DE8-B7EE-ED7A3B240A0C}" type="presParOf" srcId="{05CC4B54-A44D-4D30-A37A-71F387F6A9E3}" destId="{DD04CD6B-D03F-448A-AEE7-55DDEBC12BDB}" srcOrd="1" destOrd="0" presId="urn:microsoft.com/office/officeart/2005/8/layout/orgChart1"/>
    <dgm:cxn modelId="{A267421E-6996-4096-AADC-21B831516757}" type="presParOf" srcId="{05CC4B54-A44D-4D30-A37A-71F387F6A9E3}" destId="{447B34DF-AC27-4485-A80F-86FDAAE3279A}" srcOrd="2" destOrd="0" presId="urn:microsoft.com/office/officeart/2005/8/layout/orgChart1"/>
    <dgm:cxn modelId="{BA09C71F-95B3-4DC0-ABD6-E7A2D1B41E3A}" type="presParOf" srcId="{604BD7F7-0389-4ECB-B419-E102FB55CEAC}" destId="{D3F60D4C-C526-4F49-B3E8-E06249817A96}" srcOrd="12" destOrd="0" presId="urn:microsoft.com/office/officeart/2005/8/layout/orgChart1"/>
    <dgm:cxn modelId="{BCB341BE-796A-4238-B079-81418AA5D02A}" type="presParOf" srcId="{604BD7F7-0389-4ECB-B419-E102FB55CEAC}" destId="{F0FB2EC2-5AD6-4985-99EC-24D8DC193210}" srcOrd="13" destOrd="0" presId="urn:microsoft.com/office/officeart/2005/8/layout/orgChart1"/>
    <dgm:cxn modelId="{966D2B70-973B-4D78-9FE4-06EB3D7DB71B}" type="presParOf" srcId="{F0FB2EC2-5AD6-4985-99EC-24D8DC193210}" destId="{CD5E9326-C3AC-48C3-B196-E2187E415D87}" srcOrd="0" destOrd="0" presId="urn:microsoft.com/office/officeart/2005/8/layout/orgChart1"/>
    <dgm:cxn modelId="{D3F62A42-7F74-4D9E-B972-E7D46B2A4460}" type="presParOf" srcId="{CD5E9326-C3AC-48C3-B196-E2187E415D87}" destId="{18490A3D-7561-4C91-B5F4-2BA7B9B60576}" srcOrd="0" destOrd="0" presId="urn:microsoft.com/office/officeart/2005/8/layout/orgChart1"/>
    <dgm:cxn modelId="{5F62C5EC-7670-4EA4-8F81-C9FE35A4A712}" type="presParOf" srcId="{CD5E9326-C3AC-48C3-B196-E2187E415D87}" destId="{50ACBF04-6546-4760-80CE-4526632FA21F}" srcOrd="1" destOrd="0" presId="urn:microsoft.com/office/officeart/2005/8/layout/orgChart1"/>
    <dgm:cxn modelId="{09E390E2-3579-4003-99DA-FF5422EABF14}" type="presParOf" srcId="{F0FB2EC2-5AD6-4985-99EC-24D8DC193210}" destId="{78475D1F-4AC7-40C1-8B2F-2805FD1A6CC4}" srcOrd="1" destOrd="0" presId="urn:microsoft.com/office/officeart/2005/8/layout/orgChart1"/>
    <dgm:cxn modelId="{13124386-7749-4FAD-8394-8C6A107F1294}" type="presParOf" srcId="{F0FB2EC2-5AD6-4985-99EC-24D8DC193210}" destId="{0697A185-609A-4DEB-8A62-C8FF3508FAF7}" srcOrd="2" destOrd="0" presId="urn:microsoft.com/office/officeart/2005/8/layout/orgChart1"/>
    <dgm:cxn modelId="{9711342F-626B-4EA8-96F2-69D07A619F03}" type="presParOf" srcId="{106AC147-102C-49EA-AA5F-EF5284021786}" destId="{DC47B5BE-0D25-4337-B97F-303E26D4FF58}" srcOrd="2" destOrd="0" presId="urn:microsoft.com/office/officeart/2005/8/layout/orgChart1"/>
    <dgm:cxn modelId="{0D097242-B9E2-42C8-B325-E1403B71E778}" type="presParOf" srcId="{B3767120-1D84-4CBF-A42A-7963C47D4D0B}" destId="{C52852C6-20B4-46A2-B6DA-5FE9764A5987}" srcOrd="6" destOrd="0" presId="urn:microsoft.com/office/officeart/2005/8/layout/orgChart1"/>
    <dgm:cxn modelId="{3175E67C-FAC1-4AD3-9417-4BF71F4D3ED4}" type="presParOf" srcId="{B3767120-1D84-4CBF-A42A-7963C47D4D0B}" destId="{B608C61A-120B-4251-B9EB-E7EDC8273B6F}" srcOrd="7" destOrd="0" presId="urn:microsoft.com/office/officeart/2005/8/layout/orgChart1"/>
    <dgm:cxn modelId="{F4A71831-E03C-4406-83C7-F11D66E4DC7C}" type="presParOf" srcId="{B608C61A-120B-4251-B9EB-E7EDC8273B6F}" destId="{6DEDE116-3EA2-4404-BA72-3E63AF293AAD}" srcOrd="0" destOrd="0" presId="urn:microsoft.com/office/officeart/2005/8/layout/orgChart1"/>
    <dgm:cxn modelId="{31904E82-2064-41CB-8491-0C504FFF8F0F}" type="presParOf" srcId="{6DEDE116-3EA2-4404-BA72-3E63AF293AAD}" destId="{93A91F1D-7D22-4985-85A0-25585DC5988D}" srcOrd="0" destOrd="0" presId="urn:microsoft.com/office/officeart/2005/8/layout/orgChart1"/>
    <dgm:cxn modelId="{135D8D56-71AF-4948-9610-3534EF340247}" type="presParOf" srcId="{6DEDE116-3EA2-4404-BA72-3E63AF293AAD}" destId="{C6591505-D2DB-4716-ADD2-239A1C546601}" srcOrd="1" destOrd="0" presId="urn:microsoft.com/office/officeart/2005/8/layout/orgChart1"/>
    <dgm:cxn modelId="{B2313819-4ADD-4477-9689-2C20B3A79562}" type="presParOf" srcId="{B608C61A-120B-4251-B9EB-E7EDC8273B6F}" destId="{938C0902-ABBE-4EAB-8859-4C995FBF347B}" srcOrd="1" destOrd="0" presId="urn:microsoft.com/office/officeart/2005/8/layout/orgChart1"/>
    <dgm:cxn modelId="{7C12CC31-A7C3-4E30-9E29-51B70F6C4E24}" type="presParOf" srcId="{938C0902-ABBE-4EAB-8859-4C995FBF347B}" destId="{624BD74D-0A26-4504-89C2-C0CE0AB010B7}" srcOrd="0" destOrd="0" presId="urn:microsoft.com/office/officeart/2005/8/layout/orgChart1"/>
    <dgm:cxn modelId="{4EF3E5A6-CBF1-4F90-92EF-C8523FB47634}" type="presParOf" srcId="{938C0902-ABBE-4EAB-8859-4C995FBF347B}" destId="{50712217-9B09-4EE8-97B8-7FFA82E90CAF}" srcOrd="1" destOrd="0" presId="urn:microsoft.com/office/officeart/2005/8/layout/orgChart1"/>
    <dgm:cxn modelId="{9928B04C-39C5-42A7-8F02-B9D03D563361}" type="presParOf" srcId="{50712217-9B09-4EE8-97B8-7FFA82E90CAF}" destId="{2584DB84-6D5D-4941-9889-C877F4F137C8}" srcOrd="0" destOrd="0" presId="urn:microsoft.com/office/officeart/2005/8/layout/orgChart1"/>
    <dgm:cxn modelId="{B269CB59-2642-4583-9EE0-D15977C7E32B}" type="presParOf" srcId="{2584DB84-6D5D-4941-9889-C877F4F137C8}" destId="{BD124048-E30E-4AF4-8927-D2BF6DF4E839}" srcOrd="0" destOrd="0" presId="urn:microsoft.com/office/officeart/2005/8/layout/orgChart1"/>
    <dgm:cxn modelId="{FD89E468-332D-4BE7-887C-8B1635F88AC3}" type="presParOf" srcId="{2584DB84-6D5D-4941-9889-C877F4F137C8}" destId="{266370AC-8E10-4BE9-8937-5CACF751948A}" srcOrd="1" destOrd="0" presId="urn:microsoft.com/office/officeart/2005/8/layout/orgChart1"/>
    <dgm:cxn modelId="{CA90100E-E712-4F74-AB9A-8C7AEB408BEE}" type="presParOf" srcId="{50712217-9B09-4EE8-97B8-7FFA82E90CAF}" destId="{0A7035F7-D8A1-4D40-96C5-ED61913FA500}" srcOrd="1" destOrd="0" presId="urn:microsoft.com/office/officeart/2005/8/layout/orgChart1"/>
    <dgm:cxn modelId="{ABBAA67E-E0DE-4F04-8310-FD5156DADC61}" type="presParOf" srcId="{50712217-9B09-4EE8-97B8-7FFA82E90CAF}" destId="{E25535BC-DEEC-4619-8D55-743647BB00EC}" srcOrd="2" destOrd="0" presId="urn:microsoft.com/office/officeart/2005/8/layout/orgChart1"/>
    <dgm:cxn modelId="{15B23894-2E19-499E-A324-2D8809CD7F70}" type="presParOf" srcId="{938C0902-ABBE-4EAB-8859-4C995FBF347B}" destId="{E4B24ED9-AEA6-4719-9AAC-19425E50102E}" srcOrd="2" destOrd="0" presId="urn:microsoft.com/office/officeart/2005/8/layout/orgChart1"/>
    <dgm:cxn modelId="{33B3891F-869F-4988-8669-5DCCC3DDAC76}" type="presParOf" srcId="{938C0902-ABBE-4EAB-8859-4C995FBF347B}" destId="{F3B32609-A687-45C6-A410-EBD5DD62AE65}" srcOrd="3" destOrd="0" presId="urn:microsoft.com/office/officeart/2005/8/layout/orgChart1"/>
    <dgm:cxn modelId="{C0AF2AC4-8A08-49B4-BAFD-A539C48BD264}" type="presParOf" srcId="{F3B32609-A687-45C6-A410-EBD5DD62AE65}" destId="{3A92B88B-6963-4975-BD04-61542137B14A}" srcOrd="0" destOrd="0" presId="urn:microsoft.com/office/officeart/2005/8/layout/orgChart1"/>
    <dgm:cxn modelId="{A7B760B9-4C3E-4994-A706-8E1C3D56C980}" type="presParOf" srcId="{3A92B88B-6963-4975-BD04-61542137B14A}" destId="{24BC7984-6149-4663-938B-04A9C51DF1FB}" srcOrd="0" destOrd="0" presId="urn:microsoft.com/office/officeart/2005/8/layout/orgChart1"/>
    <dgm:cxn modelId="{78348CCA-E458-495C-BA4A-1F80945EB5D9}" type="presParOf" srcId="{3A92B88B-6963-4975-BD04-61542137B14A}" destId="{2C260D77-769B-4ABC-98F4-4E6E3CB1EF90}" srcOrd="1" destOrd="0" presId="urn:microsoft.com/office/officeart/2005/8/layout/orgChart1"/>
    <dgm:cxn modelId="{12A6B81E-E1E1-40AA-B5C2-CC644C237C22}" type="presParOf" srcId="{F3B32609-A687-45C6-A410-EBD5DD62AE65}" destId="{8AC5A5D0-225B-45A7-B460-89BB69579712}" srcOrd="1" destOrd="0" presId="urn:microsoft.com/office/officeart/2005/8/layout/orgChart1"/>
    <dgm:cxn modelId="{F85D038E-E4FE-4980-B563-5022C1AFC7B6}" type="presParOf" srcId="{F3B32609-A687-45C6-A410-EBD5DD62AE65}" destId="{A77269D1-D7AC-4886-9B9C-6921666DD936}" srcOrd="2" destOrd="0" presId="urn:microsoft.com/office/officeart/2005/8/layout/orgChart1"/>
    <dgm:cxn modelId="{1C8F2CB1-E02C-46BC-A08C-224515EB398A}" type="presParOf" srcId="{938C0902-ABBE-4EAB-8859-4C995FBF347B}" destId="{C0D3BB45-9D19-4703-88C2-66BEE4E2B973}" srcOrd="4" destOrd="0" presId="urn:microsoft.com/office/officeart/2005/8/layout/orgChart1"/>
    <dgm:cxn modelId="{0DDB1C23-713C-4DF0-9712-D4D7A0E9C810}" type="presParOf" srcId="{938C0902-ABBE-4EAB-8859-4C995FBF347B}" destId="{00ACDC46-0062-4993-8D79-BFE8DBC0B4FF}" srcOrd="5" destOrd="0" presId="urn:microsoft.com/office/officeart/2005/8/layout/orgChart1"/>
    <dgm:cxn modelId="{3E6C162F-F6B1-4BDC-A2C3-0553F07DAB76}" type="presParOf" srcId="{00ACDC46-0062-4993-8D79-BFE8DBC0B4FF}" destId="{0AEF970B-6922-4981-A39C-AE271B214187}" srcOrd="0" destOrd="0" presId="urn:microsoft.com/office/officeart/2005/8/layout/orgChart1"/>
    <dgm:cxn modelId="{ED6560CB-7FA9-41BC-9838-FDB925632585}" type="presParOf" srcId="{0AEF970B-6922-4981-A39C-AE271B214187}" destId="{59C16821-136A-42CE-A32E-53F10B407A80}" srcOrd="0" destOrd="0" presId="urn:microsoft.com/office/officeart/2005/8/layout/orgChart1"/>
    <dgm:cxn modelId="{AB6CF8AD-7889-4E02-9B59-8A1B5071B195}" type="presParOf" srcId="{0AEF970B-6922-4981-A39C-AE271B214187}" destId="{ECF123A4-F45E-45C6-B1D6-1E39217B7B2C}" srcOrd="1" destOrd="0" presId="urn:microsoft.com/office/officeart/2005/8/layout/orgChart1"/>
    <dgm:cxn modelId="{09132ED8-71EE-41DB-99C5-C08544F469B9}" type="presParOf" srcId="{00ACDC46-0062-4993-8D79-BFE8DBC0B4FF}" destId="{6DD4D02D-D95C-4310-8003-891DC4F32932}" srcOrd="1" destOrd="0" presId="urn:microsoft.com/office/officeart/2005/8/layout/orgChart1"/>
    <dgm:cxn modelId="{4B9A57F3-72B2-4E9B-A96A-D76276298CF9}" type="presParOf" srcId="{00ACDC46-0062-4993-8D79-BFE8DBC0B4FF}" destId="{5543DF53-49F4-4BCA-95A1-083550ED700E}" srcOrd="2" destOrd="0" presId="urn:microsoft.com/office/officeart/2005/8/layout/orgChart1"/>
    <dgm:cxn modelId="{1AE39BC8-64C4-48ED-B1D6-ADE7E4D918B7}" type="presParOf" srcId="{938C0902-ABBE-4EAB-8859-4C995FBF347B}" destId="{2180CF6A-AD39-4810-94ED-3BA4F0BB8147}" srcOrd="6" destOrd="0" presId="urn:microsoft.com/office/officeart/2005/8/layout/orgChart1"/>
    <dgm:cxn modelId="{C33F2AEA-D6A2-495E-960B-B1B421E6D262}" type="presParOf" srcId="{938C0902-ABBE-4EAB-8859-4C995FBF347B}" destId="{BE262D98-1443-40EC-B1E2-248A4A512673}" srcOrd="7" destOrd="0" presId="urn:microsoft.com/office/officeart/2005/8/layout/orgChart1"/>
    <dgm:cxn modelId="{CD049895-1C3D-42F3-94D8-2CA21AD4FADE}" type="presParOf" srcId="{BE262D98-1443-40EC-B1E2-248A4A512673}" destId="{469E3A06-CC11-40B1-B3C7-72ACC7F56BB2}" srcOrd="0" destOrd="0" presId="urn:microsoft.com/office/officeart/2005/8/layout/orgChart1"/>
    <dgm:cxn modelId="{4079E44B-5643-4BB1-838A-469DF07967A4}" type="presParOf" srcId="{469E3A06-CC11-40B1-B3C7-72ACC7F56BB2}" destId="{29BFB6C1-D823-46CA-84D1-1520903300FC}" srcOrd="0" destOrd="0" presId="urn:microsoft.com/office/officeart/2005/8/layout/orgChart1"/>
    <dgm:cxn modelId="{5C6BF7D1-1F47-43D2-BAF5-6D47D8CDF016}" type="presParOf" srcId="{469E3A06-CC11-40B1-B3C7-72ACC7F56BB2}" destId="{7F82E3ED-1AB7-46C3-AFE6-1D1C8EDF0CA5}" srcOrd="1" destOrd="0" presId="urn:microsoft.com/office/officeart/2005/8/layout/orgChart1"/>
    <dgm:cxn modelId="{8B3B8594-0FD3-48AC-BC04-B2EBBD65B5F1}" type="presParOf" srcId="{BE262D98-1443-40EC-B1E2-248A4A512673}" destId="{AE348AF0-6158-4AEF-88FB-08E520EFE8E0}" srcOrd="1" destOrd="0" presId="urn:microsoft.com/office/officeart/2005/8/layout/orgChart1"/>
    <dgm:cxn modelId="{3774BBB4-71BF-42EA-A833-8558BC8841BB}" type="presParOf" srcId="{BE262D98-1443-40EC-B1E2-248A4A512673}" destId="{1ECE731C-F505-41BC-AB5D-174509F0191B}" srcOrd="2" destOrd="0" presId="urn:microsoft.com/office/officeart/2005/8/layout/orgChart1"/>
    <dgm:cxn modelId="{19348749-9CA7-4F8F-A341-3ACC6526415D}" type="presParOf" srcId="{938C0902-ABBE-4EAB-8859-4C995FBF347B}" destId="{59B232EF-2D1D-49CB-9869-94894A759754}" srcOrd="8" destOrd="0" presId="urn:microsoft.com/office/officeart/2005/8/layout/orgChart1"/>
    <dgm:cxn modelId="{01C7F688-7588-44CC-A0D0-391D91310500}" type="presParOf" srcId="{938C0902-ABBE-4EAB-8859-4C995FBF347B}" destId="{3C0E049D-849A-4267-9D46-240008F38999}" srcOrd="9" destOrd="0" presId="urn:microsoft.com/office/officeart/2005/8/layout/orgChart1"/>
    <dgm:cxn modelId="{85DB62EC-A095-40ED-A38C-79D51BAA4D39}" type="presParOf" srcId="{3C0E049D-849A-4267-9D46-240008F38999}" destId="{6691932E-CF57-4CC4-B264-D170AB37EEE3}" srcOrd="0" destOrd="0" presId="urn:microsoft.com/office/officeart/2005/8/layout/orgChart1"/>
    <dgm:cxn modelId="{69A82E4B-52CB-46AA-AFA3-6178D63CF262}" type="presParOf" srcId="{6691932E-CF57-4CC4-B264-D170AB37EEE3}" destId="{51F33CE0-C792-43E6-9B95-4AA844009EE5}" srcOrd="0" destOrd="0" presId="urn:microsoft.com/office/officeart/2005/8/layout/orgChart1"/>
    <dgm:cxn modelId="{F625B4CB-CDDE-45FC-BB55-1365BC31AE9C}" type="presParOf" srcId="{6691932E-CF57-4CC4-B264-D170AB37EEE3}" destId="{E727AD94-075F-49A2-8531-01CD1C7D6333}" srcOrd="1" destOrd="0" presId="urn:microsoft.com/office/officeart/2005/8/layout/orgChart1"/>
    <dgm:cxn modelId="{F5C17157-F5A3-4539-85BC-A345A6B0FC82}" type="presParOf" srcId="{3C0E049D-849A-4267-9D46-240008F38999}" destId="{2553921A-A42D-4097-BE44-602F98390533}" srcOrd="1" destOrd="0" presId="urn:microsoft.com/office/officeart/2005/8/layout/orgChart1"/>
    <dgm:cxn modelId="{8CA04162-BFD9-402B-A271-C36E42E482BA}" type="presParOf" srcId="{3C0E049D-849A-4267-9D46-240008F38999}" destId="{6CA001DC-A2C5-4CD8-B74C-FC7BF906F393}" srcOrd="2" destOrd="0" presId="urn:microsoft.com/office/officeart/2005/8/layout/orgChart1"/>
    <dgm:cxn modelId="{3AB6226A-41A1-4C86-93E3-D838D1D6730C}" type="presParOf" srcId="{B608C61A-120B-4251-B9EB-E7EDC8273B6F}" destId="{2FE1CF98-76D1-4570-9A8A-D319916AAC7F}" srcOrd="2" destOrd="0" presId="urn:microsoft.com/office/officeart/2005/8/layout/orgChart1"/>
    <dgm:cxn modelId="{9F58BFD9-DC05-4E2B-A38D-81F9117081AA}" type="presParOf" srcId="{B3767120-1D84-4CBF-A42A-7963C47D4D0B}" destId="{4CFE875C-E146-4181-A2BE-0EABCD2A558F}" srcOrd="8" destOrd="0" presId="urn:microsoft.com/office/officeart/2005/8/layout/orgChart1"/>
    <dgm:cxn modelId="{4A1C57FE-5537-4048-A429-BD3AE6C2312A}" type="presParOf" srcId="{B3767120-1D84-4CBF-A42A-7963C47D4D0B}" destId="{80271EF2-C154-4A0D-8E68-F4DB37C77F77}" srcOrd="9" destOrd="0" presId="urn:microsoft.com/office/officeart/2005/8/layout/orgChart1"/>
    <dgm:cxn modelId="{ADA3BE74-DA46-4BC2-A211-9AE2132E1DD0}" type="presParOf" srcId="{80271EF2-C154-4A0D-8E68-F4DB37C77F77}" destId="{D1122FA3-35CB-4C1F-817A-38903DDCB578}" srcOrd="0" destOrd="0" presId="urn:microsoft.com/office/officeart/2005/8/layout/orgChart1"/>
    <dgm:cxn modelId="{91EEA235-5EE5-4F21-B28F-B9F71A66B74D}" type="presParOf" srcId="{D1122FA3-35CB-4C1F-817A-38903DDCB578}" destId="{9060BF1E-9366-4AEA-8D0E-28DE9A854D56}" srcOrd="0" destOrd="0" presId="urn:microsoft.com/office/officeart/2005/8/layout/orgChart1"/>
    <dgm:cxn modelId="{D3111819-9256-4A2F-A1A6-49ABD1BE5EC5}" type="presParOf" srcId="{D1122FA3-35CB-4C1F-817A-38903DDCB578}" destId="{57E1A699-792A-40B3-88D9-06A6CFB31BD8}" srcOrd="1" destOrd="0" presId="urn:microsoft.com/office/officeart/2005/8/layout/orgChart1"/>
    <dgm:cxn modelId="{B910516F-5D79-4A43-8B14-70339B0AC2BD}" type="presParOf" srcId="{80271EF2-C154-4A0D-8E68-F4DB37C77F77}" destId="{67844ED5-EBD1-4AEB-B39B-DF68DB11F01B}" srcOrd="1" destOrd="0" presId="urn:microsoft.com/office/officeart/2005/8/layout/orgChart1"/>
    <dgm:cxn modelId="{6B754EC0-57CD-48A3-9D34-B2F6B96D4723}" type="presParOf" srcId="{80271EF2-C154-4A0D-8E68-F4DB37C77F77}" destId="{5E94D50D-5D3B-4C04-BF8F-546603C6B18F}" srcOrd="2" destOrd="0" presId="urn:microsoft.com/office/officeart/2005/8/layout/orgChart1"/>
    <dgm:cxn modelId="{63999A6F-E262-456E-AF6A-830B280B74A9}" type="presParOf" srcId="{ADF78B51-FF65-46D3-95B4-403BD752DD8A}" destId="{A01BFD0A-DF36-4B6D-9BA0-3A05A52ED7B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EB5C877-C77B-47BD-825A-482B3EB5DF5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030A46-7792-4815-B57B-046A07F0140A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VP Delivery Operations</a:t>
          </a:r>
        </a:p>
        <a:p>
          <a:r>
            <a:rPr lang="en-US" sz="800" b="1" dirty="0">
              <a:solidFill>
                <a:schemeClr val="bg1"/>
              </a:solidFill>
            </a:rPr>
            <a:t>Dr. Josh Colin</a:t>
          </a:r>
          <a:endParaRPr lang="en-US" sz="800" dirty="0">
            <a:solidFill>
              <a:schemeClr val="bg1"/>
            </a:solidFill>
          </a:endParaRPr>
        </a:p>
      </dgm:t>
    </dgm:pt>
    <dgm:pt modelId="{93793C77-22A1-4452-AA5B-CD75C3A2088D}" type="parTrans" cxnId="{39718F2F-F1BB-4543-94B9-E375F01D1237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23F7F991-0E15-4B2C-9412-38FC07AC3355}" type="sibTrans" cxnId="{39718F2F-F1BB-4543-94B9-E375F01D1237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C4171510-A219-4D73-ABD0-9340201AB08B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VP Retail &amp; Post Office Ops</a:t>
          </a:r>
        </a:p>
        <a:p>
          <a:r>
            <a:rPr lang="en-US" sz="800" b="1" dirty="0">
              <a:solidFill>
                <a:schemeClr val="bg1"/>
              </a:solidFill>
            </a:rPr>
            <a:t>Angela Curtis</a:t>
          </a:r>
        </a:p>
      </dgm:t>
    </dgm:pt>
    <dgm:pt modelId="{C596D3E0-CF1C-4186-873C-266C0BDDA405}" type="parTrans" cxnId="{0C7711AA-3347-45A2-BD1F-7A8F83B66F66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55F7E4BD-CE46-4672-9F79-FC039A5ADB47}" type="sibTrans" cxnId="{0C7711AA-3347-45A2-BD1F-7A8F83B66F66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25AF2A20-742B-4B54-82EE-1A36C3C1A1C1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b="0" dirty="0">
              <a:solidFill>
                <a:schemeClr val="bg1"/>
              </a:solidFill>
            </a:rPr>
            <a:t>VP Area Retail &amp; Delivery Operations (Atlantic)</a:t>
          </a:r>
        </a:p>
        <a:p>
          <a:r>
            <a:rPr lang="en-US" sz="800" b="1" dirty="0">
              <a:solidFill>
                <a:schemeClr val="bg1"/>
              </a:solidFill>
            </a:rPr>
            <a:t>Salvatore Vacca</a:t>
          </a:r>
        </a:p>
      </dgm:t>
    </dgm:pt>
    <dgm:pt modelId="{DD5605C9-86D4-46AB-815E-97791D76E890}" type="parTrans" cxnId="{DDE97A23-B107-4301-843B-9FAB7A3824CE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DB2CF243-4E5E-43F5-BC45-86118435809D}" type="sibTrans" cxnId="{DDE97A23-B107-4301-843B-9FAB7A3824CE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735E0ECF-1473-4459-9782-B3BFD89D844B}">
      <dgm:prSet phldrT="[Text]" custT="1"/>
      <dgm:spPr>
        <a:solidFill>
          <a:schemeClr val="accent1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Chief Retail &amp; Delivery Officer</a:t>
          </a:r>
        </a:p>
        <a:p>
          <a:r>
            <a:rPr lang="en-US" sz="800" b="1" dirty="0">
              <a:solidFill>
                <a:schemeClr val="bg1"/>
              </a:solidFill>
            </a:rPr>
            <a:t>Kristin Seaver</a:t>
          </a:r>
        </a:p>
      </dgm:t>
    </dgm:pt>
    <dgm:pt modelId="{90F12E4B-19E3-4560-90AB-454891BF7004}" type="parTrans" cxnId="{D9E37111-B8E5-4806-AAD1-7B9FA8B19E12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ACF038FB-1CE1-4A98-8F2E-9A6C83F1B13E}" type="sibTrans" cxnId="{D9E37111-B8E5-4806-AAD1-7B9FA8B19E12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D9AFF782-FE71-42BB-99D0-C8D65EEC9AB8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b="0" dirty="0">
              <a:solidFill>
                <a:schemeClr val="bg1"/>
              </a:solidFill>
            </a:rPr>
            <a:t>VP Area Retail &amp; Delivery Ops (Southern)</a:t>
          </a:r>
        </a:p>
        <a:p>
          <a:r>
            <a:rPr lang="en-US" sz="800" b="1" dirty="0">
              <a:solidFill>
                <a:schemeClr val="bg1"/>
              </a:solidFill>
            </a:rPr>
            <a:t>Timothy Costello</a:t>
          </a:r>
        </a:p>
      </dgm:t>
    </dgm:pt>
    <dgm:pt modelId="{CC20C97E-EFDD-4A67-821C-3B85E1B7A98A}" type="parTrans" cxnId="{180A7198-8CF4-4565-9B33-A7FE4FD6A189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9D23B64F-CF42-49F8-8317-84814164169C}" type="sibTrans" cxnId="{180A7198-8CF4-4565-9B33-A7FE4FD6A189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EB027484-7CEA-4CBE-BF58-C09DD2571399}">
      <dgm:prSet phldrT="[Text]" custT="1"/>
      <dgm:spPr>
        <a:solidFill>
          <a:schemeClr val="accent2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Dir City Delivery</a:t>
          </a:r>
        </a:p>
        <a:p>
          <a:r>
            <a:rPr lang="en-US" sz="800" b="1" dirty="0">
              <a:solidFill>
                <a:schemeClr val="bg1"/>
              </a:solidFill>
            </a:rPr>
            <a:t>Jennifer Vo</a:t>
          </a:r>
        </a:p>
      </dgm:t>
    </dgm:pt>
    <dgm:pt modelId="{9F1142D6-E2EB-4B62-9657-E1BFD7D3F930}" type="parTrans" cxnId="{5DE9968B-CBA3-4207-95E2-F8184BAEC330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7E2DFD20-B35C-4A34-A97B-6B21C5343AD5}" type="sibTrans" cxnId="{5DE9968B-CBA3-4207-95E2-F8184BAEC330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715F685F-1B97-4735-9D7D-F06EC3224C5B}">
      <dgm:prSet phldrT="[Text]" custT="1"/>
      <dgm:spPr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r>
            <a:rPr lang="en-US" sz="800" b="0" dirty="0">
              <a:solidFill>
                <a:schemeClr val="bg1"/>
              </a:solidFill>
            </a:rPr>
            <a:t>Mgr Area Marketing</a:t>
          </a:r>
        </a:p>
        <a:p>
          <a:r>
            <a:rPr lang="en-US" sz="800" b="0" dirty="0">
              <a:solidFill>
                <a:schemeClr val="bg1"/>
              </a:solidFill>
            </a:rPr>
            <a:t>(Atlantic)</a:t>
          </a:r>
        </a:p>
        <a:p>
          <a:r>
            <a:rPr lang="en-US" sz="800" b="1" dirty="0">
              <a:solidFill>
                <a:schemeClr val="bg1"/>
              </a:solidFill>
            </a:rPr>
            <a:t>Lisa M. Adams</a:t>
          </a:r>
        </a:p>
      </dgm:t>
    </dgm:pt>
    <dgm:pt modelId="{FD10F90F-B12D-4036-82A3-E1375D5847BB}" type="parTrans" cxnId="{323899A7-DC80-4FAC-8C77-2B5F7104424F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E45E934C-FA03-43C6-B0C5-1E366C0B57C1}" type="sibTrans" cxnId="{323899A7-DC80-4FAC-8C77-2B5F7104424F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111E18F4-EF8B-4472-A2D1-E52F7FB4758B}">
      <dgm:prSet phldrT="[Text]"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b="0" dirty="0">
              <a:ln>
                <a:noFill/>
              </a:ln>
              <a:solidFill>
                <a:schemeClr val="bg1"/>
              </a:solidFill>
            </a:rPr>
            <a:t>Mgr Delivery/A</a:t>
          </a:r>
        </a:p>
        <a:p>
          <a:r>
            <a:rPr lang="en-US" sz="800" b="1" dirty="0">
              <a:ln>
                <a:noFill/>
              </a:ln>
              <a:solidFill>
                <a:schemeClr val="bg1"/>
              </a:solidFill>
            </a:rPr>
            <a:t>Michael P. Shea</a:t>
          </a:r>
        </a:p>
      </dgm:t>
    </dgm:pt>
    <dgm:pt modelId="{868AF991-4EBE-4263-87F3-E67A2033B966}" type="parTrans" cxnId="{010821BD-9140-496C-B874-2845674FAE91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5A391C39-3151-4BBC-A20E-ACFFA20617ED}" type="sibTrans" cxnId="{010821BD-9140-496C-B874-2845674FAE91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C57E2B08-C14F-4730-8F05-46A4E50E07A4}">
      <dgm:prSet phldrT="[Text]"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b="0" dirty="0">
              <a:solidFill>
                <a:schemeClr val="bg1"/>
              </a:solidFill>
            </a:rPr>
            <a:t>Mgr Area Marketing</a:t>
          </a:r>
        </a:p>
        <a:p>
          <a:r>
            <a:rPr lang="en-US" sz="800" b="0" dirty="0">
              <a:solidFill>
                <a:schemeClr val="bg1"/>
              </a:solidFill>
            </a:rPr>
            <a:t>(Southern)</a:t>
          </a:r>
        </a:p>
        <a:p>
          <a:r>
            <a:rPr lang="en-US" sz="800" b="1" dirty="0">
              <a:solidFill>
                <a:schemeClr val="bg1"/>
              </a:solidFill>
            </a:rPr>
            <a:t>Mike Cook</a:t>
          </a:r>
        </a:p>
      </dgm:t>
    </dgm:pt>
    <dgm:pt modelId="{C578214E-0A14-4CEF-9DE7-9D43947495E8}" type="parTrans" cxnId="{5DCEFA4E-474D-4641-B9A2-5EFB6814B5B9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7BD763A0-B74E-43A3-82EC-2BE5ED2607C4}" type="sibTrans" cxnId="{5DCEFA4E-474D-4641-B9A2-5EFB6814B5B9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7CCC1F36-2DB0-4F7B-B68E-5AD0930837A4}">
      <dgm:prSet phldrT="[Text]"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b="0" dirty="0">
              <a:solidFill>
                <a:schemeClr val="bg1"/>
              </a:solidFill>
            </a:rPr>
            <a:t>Mgr Delivery Programs Support/A</a:t>
          </a:r>
        </a:p>
        <a:p>
          <a:r>
            <a:rPr lang="en-US" sz="800" b="1" dirty="0">
              <a:solidFill>
                <a:schemeClr val="bg1"/>
              </a:solidFill>
            </a:rPr>
            <a:t>Amanda Morrell</a:t>
          </a:r>
        </a:p>
      </dgm:t>
    </dgm:pt>
    <dgm:pt modelId="{35915763-0031-42C8-BC36-F3886FBA273E}" type="parTrans" cxnId="{AAB8B7B7-8B03-4579-878C-656416DE8E07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A7B49983-6680-407F-B5BF-DF132722C100}" type="sibTrans" cxnId="{AAB8B7B7-8B03-4579-878C-656416DE8E07}">
      <dgm:prSet/>
      <dgm:spPr/>
      <dgm:t>
        <a:bodyPr/>
        <a:lstStyle/>
        <a:p>
          <a:endParaRPr lang="en-US" sz="800">
            <a:solidFill>
              <a:sysClr val="windowText" lastClr="000000"/>
            </a:solidFill>
          </a:endParaRPr>
        </a:p>
      </dgm:t>
    </dgm:pt>
    <dgm:pt modelId="{7E9A69E0-D2E0-4016-9D17-91D1DF9FC6D8}">
      <dgm:prSet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VP Area Retail &amp; Delivery Operations (Central)</a:t>
          </a:r>
        </a:p>
        <a:p>
          <a:r>
            <a:rPr lang="en-US" sz="800" b="1" dirty="0">
              <a:solidFill>
                <a:schemeClr val="bg1"/>
              </a:solidFill>
            </a:rPr>
            <a:t>Krista Finazzo</a:t>
          </a:r>
        </a:p>
      </dgm:t>
    </dgm:pt>
    <dgm:pt modelId="{C17649F9-BFF1-4BE6-B8B8-303453278CF0}" type="parTrans" cxnId="{301B035B-BF9A-4DCB-BCA6-87E5F1FF33FF}">
      <dgm:prSet/>
      <dgm:spPr/>
      <dgm:t>
        <a:bodyPr/>
        <a:lstStyle/>
        <a:p>
          <a:endParaRPr lang="en-US" sz="800"/>
        </a:p>
      </dgm:t>
    </dgm:pt>
    <dgm:pt modelId="{DEEE58CE-F01F-4406-8792-7A171FE59AE6}" type="sibTrans" cxnId="{301B035B-BF9A-4DCB-BCA6-87E5F1FF33FF}">
      <dgm:prSet/>
      <dgm:spPr/>
      <dgm:t>
        <a:bodyPr/>
        <a:lstStyle/>
        <a:p>
          <a:endParaRPr lang="en-US" sz="800"/>
        </a:p>
      </dgm:t>
    </dgm:pt>
    <dgm:pt modelId="{8410ED97-D266-4605-BA7F-9D2AE9B10EE6}">
      <dgm:prSet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VP Area Retail &amp; Delivery Operations (Pacific)</a:t>
          </a:r>
        </a:p>
        <a:p>
          <a:r>
            <a:rPr lang="en-US" sz="800" b="1" dirty="0">
              <a:solidFill>
                <a:schemeClr val="bg1"/>
              </a:solidFill>
            </a:rPr>
            <a:t>Greg Graves</a:t>
          </a:r>
        </a:p>
      </dgm:t>
    </dgm:pt>
    <dgm:pt modelId="{A6B55F34-AD4F-48E5-B1C5-98E9B9FBFD4B}" type="parTrans" cxnId="{8033206E-48F4-4047-940D-13BF453CF80C}">
      <dgm:prSet/>
      <dgm:spPr/>
      <dgm:t>
        <a:bodyPr/>
        <a:lstStyle/>
        <a:p>
          <a:endParaRPr lang="en-US" sz="800"/>
        </a:p>
      </dgm:t>
    </dgm:pt>
    <dgm:pt modelId="{9EB54139-1CBC-4C01-9970-6B14F451C07A}" type="sibTrans" cxnId="{8033206E-48F4-4047-940D-13BF453CF80C}">
      <dgm:prSet/>
      <dgm:spPr/>
      <dgm:t>
        <a:bodyPr/>
        <a:lstStyle/>
        <a:p>
          <a:endParaRPr lang="en-US" sz="800"/>
        </a:p>
      </dgm:t>
    </dgm:pt>
    <dgm:pt modelId="{7D5AACEE-FB7C-41F0-B700-2BEA45C6465D}">
      <dgm:prSet custT="1"/>
      <dgm:spPr>
        <a:solidFill>
          <a:schemeClr val="accent2">
            <a:lumMod val="50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Exec Dir Insights &amp; Ops Excellence</a:t>
          </a:r>
        </a:p>
        <a:p>
          <a:r>
            <a:rPr lang="en-US" sz="800" b="1" dirty="0">
              <a:solidFill>
                <a:schemeClr val="bg1"/>
              </a:solidFill>
            </a:rPr>
            <a:t>Adyani Torres</a:t>
          </a:r>
        </a:p>
      </dgm:t>
    </dgm:pt>
    <dgm:pt modelId="{A78BB8C4-91F6-4281-891A-5E4792BAC6C6}" type="parTrans" cxnId="{4A1C6FFF-E36A-4132-AD6B-D8AD1D87A9D6}">
      <dgm:prSet/>
      <dgm:spPr/>
      <dgm:t>
        <a:bodyPr/>
        <a:lstStyle/>
        <a:p>
          <a:endParaRPr lang="en-US" sz="800"/>
        </a:p>
      </dgm:t>
    </dgm:pt>
    <dgm:pt modelId="{69BF3DDC-D852-4E1C-B873-FDCAA00EC63A}" type="sibTrans" cxnId="{4A1C6FFF-E36A-4132-AD6B-D8AD1D87A9D6}">
      <dgm:prSet/>
      <dgm:spPr/>
      <dgm:t>
        <a:bodyPr/>
        <a:lstStyle/>
        <a:p>
          <a:endParaRPr lang="en-US" sz="800"/>
        </a:p>
      </dgm:t>
    </dgm:pt>
    <dgm:pt modelId="{7BD08634-225A-4977-823F-7B46D43F9618}">
      <dgm:prSet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Mgr Delivery Programs Support/A</a:t>
          </a:r>
        </a:p>
        <a:p>
          <a:r>
            <a:rPr lang="en-US" sz="800" b="1" dirty="0">
              <a:solidFill>
                <a:schemeClr val="bg1"/>
              </a:solidFill>
            </a:rPr>
            <a:t>Derek Strissel</a:t>
          </a:r>
        </a:p>
      </dgm:t>
    </dgm:pt>
    <dgm:pt modelId="{9F575CF3-260F-414F-A0FA-8DEC83767B2D}" type="parTrans" cxnId="{B1AB0FF7-613E-492E-B5B1-754D5DC38848}">
      <dgm:prSet/>
      <dgm:spPr/>
      <dgm:t>
        <a:bodyPr/>
        <a:lstStyle/>
        <a:p>
          <a:endParaRPr lang="en-US" sz="800"/>
        </a:p>
      </dgm:t>
    </dgm:pt>
    <dgm:pt modelId="{B3E92EBC-7044-4223-ABB8-5256FDB93486}" type="sibTrans" cxnId="{B1AB0FF7-613E-492E-B5B1-754D5DC38848}">
      <dgm:prSet/>
      <dgm:spPr/>
      <dgm:t>
        <a:bodyPr/>
        <a:lstStyle/>
        <a:p>
          <a:endParaRPr lang="en-US" sz="800"/>
        </a:p>
      </dgm:t>
    </dgm:pt>
    <dgm:pt modelId="{70AF50A3-7956-46A4-B3EC-CC9D98A8980A}" type="asst">
      <dgm:prSet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Mgr Area Marketing</a:t>
          </a:r>
        </a:p>
        <a:p>
          <a:r>
            <a:rPr lang="en-US" sz="800" dirty="0">
              <a:solidFill>
                <a:schemeClr val="bg1"/>
              </a:solidFill>
            </a:rPr>
            <a:t>(Central)</a:t>
          </a:r>
        </a:p>
        <a:p>
          <a:r>
            <a:rPr lang="en-US" sz="800" b="1" dirty="0">
              <a:solidFill>
                <a:schemeClr val="bg1"/>
              </a:solidFill>
            </a:rPr>
            <a:t>Michael McInturf</a:t>
          </a:r>
        </a:p>
      </dgm:t>
    </dgm:pt>
    <dgm:pt modelId="{DCD74B8A-E4FC-46DF-9BB7-B7BDB095BCDF}" type="parTrans" cxnId="{5F2764A6-2DDF-44A1-B429-49A862EA8CB1}">
      <dgm:prSet/>
      <dgm:spPr/>
      <dgm:t>
        <a:bodyPr/>
        <a:lstStyle/>
        <a:p>
          <a:endParaRPr lang="en-US" sz="800"/>
        </a:p>
      </dgm:t>
    </dgm:pt>
    <dgm:pt modelId="{B685AE36-C273-40B0-A812-91EC1BD6E2E0}" type="sibTrans" cxnId="{5F2764A6-2DDF-44A1-B429-49A862EA8CB1}">
      <dgm:prSet/>
      <dgm:spPr/>
      <dgm:t>
        <a:bodyPr/>
        <a:lstStyle/>
        <a:p>
          <a:endParaRPr lang="en-US" sz="800"/>
        </a:p>
      </dgm:t>
    </dgm:pt>
    <dgm:pt modelId="{390A138D-0D14-4672-A950-BB8F9BA5456F}" type="asst">
      <dgm:prSet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Mgr Area  Marketing        (Pacific)</a:t>
          </a:r>
        </a:p>
        <a:p>
          <a:r>
            <a:rPr lang="en-US" sz="800" b="1" dirty="0">
              <a:solidFill>
                <a:schemeClr val="bg1"/>
              </a:solidFill>
            </a:rPr>
            <a:t>Bridgett Carroll</a:t>
          </a:r>
        </a:p>
      </dgm:t>
    </dgm:pt>
    <dgm:pt modelId="{21E8E939-A3EA-468E-BB6F-0D06B0D9E286}" type="parTrans" cxnId="{7B87357F-8556-4BE8-A9A6-E1F81A678338}">
      <dgm:prSet/>
      <dgm:spPr/>
      <dgm:t>
        <a:bodyPr/>
        <a:lstStyle/>
        <a:p>
          <a:endParaRPr lang="en-US" sz="800"/>
        </a:p>
      </dgm:t>
    </dgm:pt>
    <dgm:pt modelId="{5D7CEADF-0292-4D55-BA74-15B4C895306E}" type="sibTrans" cxnId="{7B87357F-8556-4BE8-A9A6-E1F81A678338}">
      <dgm:prSet/>
      <dgm:spPr/>
      <dgm:t>
        <a:bodyPr/>
        <a:lstStyle/>
        <a:p>
          <a:endParaRPr lang="en-US" sz="800"/>
        </a:p>
      </dgm:t>
    </dgm:pt>
    <dgm:pt modelId="{8563E5FE-E641-4FF9-99CC-FF9B214DF7CC}" type="asst">
      <dgm:prSet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Mgr Area Marketing    (Western)/A</a:t>
          </a:r>
        </a:p>
        <a:p>
          <a:r>
            <a:rPr lang="en-US" sz="800" b="1" dirty="0">
              <a:solidFill>
                <a:schemeClr val="bg1"/>
              </a:solidFill>
            </a:rPr>
            <a:t>Ross Pfaff</a:t>
          </a:r>
        </a:p>
      </dgm:t>
    </dgm:pt>
    <dgm:pt modelId="{8389386B-B42B-4E74-9E5E-7F48CC27600C}" type="sibTrans" cxnId="{DC8F79A4-8FDC-4C89-A8EA-1E4F0E9FF73D}">
      <dgm:prSet/>
      <dgm:spPr/>
      <dgm:t>
        <a:bodyPr/>
        <a:lstStyle/>
        <a:p>
          <a:endParaRPr lang="en-US" sz="800"/>
        </a:p>
      </dgm:t>
    </dgm:pt>
    <dgm:pt modelId="{A2E77860-7E2A-433A-966B-68E3B0ED292E}" type="parTrans" cxnId="{DC8F79A4-8FDC-4C89-A8EA-1E4F0E9FF73D}">
      <dgm:prSet/>
      <dgm:spPr/>
      <dgm:t>
        <a:bodyPr/>
        <a:lstStyle/>
        <a:p>
          <a:endParaRPr lang="en-US" sz="800"/>
        </a:p>
      </dgm:t>
    </dgm:pt>
    <dgm:pt modelId="{8F3F50B9-37C4-42EA-8358-AEC4157E2AF8}" type="asst">
      <dgm:prSet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Mgr Delivery Programs  Support (Western)</a:t>
          </a:r>
        </a:p>
        <a:p>
          <a:r>
            <a:rPr lang="en-US" sz="800" b="1" dirty="0">
              <a:solidFill>
                <a:schemeClr val="bg1"/>
              </a:solidFill>
            </a:rPr>
            <a:t>Tyrone Williams </a:t>
          </a:r>
        </a:p>
      </dgm:t>
    </dgm:pt>
    <dgm:pt modelId="{21689C3F-6CCC-4E59-B76A-06634ED8F228}" type="parTrans" cxnId="{948EF4EE-745F-44C1-9905-4218856BE30B}">
      <dgm:prSet/>
      <dgm:spPr/>
      <dgm:t>
        <a:bodyPr/>
        <a:lstStyle/>
        <a:p>
          <a:endParaRPr lang="en-US" sz="800"/>
        </a:p>
      </dgm:t>
    </dgm:pt>
    <dgm:pt modelId="{AA3E14EA-5736-41AA-B0B7-EBF6253A0CED}" type="sibTrans" cxnId="{948EF4EE-745F-44C1-9905-4218856BE30B}">
      <dgm:prSet/>
      <dgm:spPr/>
      <dgm:t>
        <a:bodyPr/>
        <a:lstStyle/>
        <a:p>
          <a:endParaRPr lang="en-US" sz="800"/>
        </a:p>
      </dgm:t>
    </dgm:pt>
    <dgm:pt modelId="{C482A76A-6C6D-4C53-AB1A-954224BE86BF}" type="asst">
      <dgm:prSet custT="1"/>
      <dgm:spPr>
        <a:solidFill>
          <a:schemeClr val="accent5"/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800" dirty="0">
              <a:solidFill>
                <a:schemeClr val="bg1"/>
              </a:solidFill>
            </a:rPr>
            <a:t>Mgr Delivery Programs Support (Pacific)</a:t>
          </a:r>
        </a:p>
        <a:p>
          <a:r>
            <a:rPr lang="en-US" sz="800" b="1" dirty="0">
              <a:solidFill>
                <a:schemeClr val="bg1"/>
              </a:solidFill>
            </a:rPr>
            <a:t>Linda Crawford</a:t>
          </a:r>
        </a:p>
      </dgm:t>
    </dgm:pt>
    <dgm:pt modelId="{C263368F-5692-474A-933E-D12E8900F345}" type="parTrans" cxnId="{62F4935A-C4DF-481A-98C1-C47F933BB536}">
      <dgm:prSet/>
      <dgm:spPr/>
      <dgm:t>
        <a:bodyPr/>
        <a:lstStyle/>
        <a:p>
          <a:endParaRPr lang="en-US" sz="800"/>
        </a:p>
      </dgm:t>
    </dgm:pt>
    <dgm:pt modelId="{0C17BF83-2A1D-412E-855B-422510A7F4CB}" type="sibTrans" cxnId="{62F4935A-C4DF-481A-98C1-C47F933BB536}">
      <dgm:prSet/>
      <dgm:spPr/>
      <dgm:t>
        <a:bodyPr/>
        <a:lstStyle/>
        <a:p>
          <a:endParaRPr lang="en-US" sz="800"/>
        </a:p>
      </dgm:t>
    </dgm:pt>
    <dgm:pt modelId="{7EB381B7-691F-4C6F-8316-D1C35BD39375}">
      <dgm:prSet custT="1"/>
      <dgm:spPr>
        <a:solidFill>
          <a:srgbClr val="5B9BD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gr Rural Delivery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Jim Boldt</a:t>
          </a:r>
        </a:p>
      </dgm:t>
    </dgm:pt>
    <dgm:pt modelId="{7C0EEABC-8DF5-408A-9894-C24E9F6E7191}" type="parTrans" cxnId="{DC9A0654-6458-41BB-A10A-48DDD41F70FE}">
      <dgm:prSet/>
      <dgm:spPr/>
      <dgm:t>
        <a:bodyPr/>
        <a:lstStyle/>
        <a:p>
          <a:endParaRPr lang="en-US"/>
        </a:p>
      </dgm:t>
    </dgm:pt>
    <dgm:pt modelId="{5240FCA0-DA3D-4399-A04F-2260E3EAAD2A}" type="sibTrans" cxnId="{DC9A0654-6458-41BB-A10A-48DDD41F70FE}">
      <dgm:prSet/>
      <dgm:spPr/>
      <dgm:t>
        <a:bodyPr/>
        <a:lstStyle/>
        <a:p>
          <a:endParaRPr lang="en-US"/>
        </a:p>
      </dgm:t>
    </dgm:pt>
    <dgm:pt modelId="{5DD04D94-63F5-46D2-836B-799343460FE1}">
      <dgm:prSet custT="1"/>
      <dgm:spPr>
        <a:solidFill>
          <a:srgbClr val="5B9BD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715" tIns="5715" rIns="5715" bIns="5715" numCol="1" spcCol="1270" anchor="ctr" anchorCtr="0"/>
        <a:lstStyle/>
        <a:p>
          <a:pPr marL="0"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gr Fleet </a:t>
          </a:r>
          <a:r>
            <a:rPr lang="en-US" sz="800" b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anagement</a:t>
          </a:r>
        </a:p>
        <a:p>
          <a:pPr marL="0"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Kirby Cothren</a:t>
          </a:r>
        </a:p>
      </dgm:t>
    </dgm:pt>
    <dgm:pt modelId="{9389D54E-AB64-4042-8F70-8376E8A9A5DE}" type="parTrans" cxnId="{5068682D-2D61-481B-97CE-E40302B2D632}">
      <dgm:prSet/>
      <dgm:spPr/>
      <dgm:t>
        <a:bodyPr/>
        <a:lstStyle/>
        <a:p>
          <a:endParaRPr lang="en-US"/>
        </a:p>
      </dgm:t>
    </dgm:pt>
    <dgm:pt modelId="{C4AB6E49-0375-49D7-B931-54BA7A1B64C7}" type="sibTrans" cxnId="{5068682D-2D61-481B-97CE-E40302B2D632}">
      <dgm:prSet/>
      <dgm:spPr/>
      <dgm:t>
        <a:bodyPr/>
        <a:lstStyle/>
        <a:p>
          <a:endParaRPr lang="en-US"/>
        </a:p>
      </dgm:t>
    </dgm:pt>
    <dgm:pt modelId="{D542B1DD-46E2-4474-B7BF-3878A9A56C71}" type="asst">
      <dgm:prSet custT="1"/>
      <dgm:spPr>
        <a:solidFill>
          <a:srgbClr val="ED7D31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080" tIns="5080" rIns="5080" bIns="5080" numCol="1" spcCol="1270" anchor="ctr" anchorCtr="0"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Dir Retail Ops/A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Heather Dyer</a:t>
          </a:r>
        </a:p>
      </dgm:t>
    </dgm:pt>
    <dgm:pt modelId="{25183AF4-B7D2-4086-864B-599E80FCEE7C}" type="parTrans" cxnId="{752C08B8-5463-40BF-8BCD-09B8BA998B09}">
      <dgm:prSet/>
      <dgm:spPr/>
      <dgm:t>
        <a:bodyPr/>
        <a:lstStyle/>
        <a:p>
          <a:endParaRPr lang="en-US"/>
        </a:p>
      </dgm:t>
    </dgm:pt>
    <dgm:pt modelId="{7530ACF2-6059-4DAC-8C8B-E6B20A136660}" type="sibTrans" cxnId="{752C08B8-5463-40BF-8BCD-09B8BA998B09}">
      <dgm:prSet/>
      <dgm:spPr/>
      <dgm:t>
        <a:bodyPr/>
        <a:lstStyle/>
        <a:p>
          <a:endParaRPr lang="en-US"/>
        </a:p>
      </dgm:t>
    </dgm:pt>
    <dgm:pt modelId="{9A6C21B6-6027-4F30-890E-EA9CFD6B1099}" type="asst">
      <dgm:prSet custT="1"/>
      <dgm:spPr>
        <a:solidFill>
          <a:srgbClr val="ED7D31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080" tIns="5080" rIns="5080" bIns="5080" numCol="1" spcCol="1270" anchor="ctr" anchorCtr="0"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Dir Post Office Operations/A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Leslie Johnson Frick</a:t>
          </a:r>
        </a:p>
      </dgm:t>
    </dgm:pt>
    <dgm:pt modelId="{ABFB1316-46B0-4304-BDEC-33A2E9D6B926}" type="parTrans" cxnId="{03318E64-D19E-47DD-A384-58C625431E81}">
      <dgm:prSet/>
      <dgm:spPr/>
      <dgm:t>
        <a:bodyPr/>
        <a:lstStyle/>
        <a:p>
          <a:endParaRPr lang="en-US"/>
        </a:p>
      </dgm:t>
    </dgm:pt>
    <dgm:pt modelId="{B9684586-4190-47F8-AC6A-2D4E3CFE4138}" type="sibTrans" cxnId="{03318E64-D19E-47DD-A384-58C625431E81}">
      <dgm:prSet/>
      <dgm:spPr/>
      <dgm:t>
        <a:bodyPr/>
        <a:lstStyle/>
        <a:p>
          <a:endParaRPr lang="en-US"/>
        </a:p>
      </dgm:t>
    </dgm:pt>
    <dgm:pt modelId="{07B91D9F-5D86-4684-8111-0C8D049E94D0}" type="asst">
      <dgm:prSet custT="1"/>
      <dgm:spPr>
        <a:solidFill>
          <a:srgbClr val="5B9BD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080" tIns="5080" rIns="5080" bIns="5080" numCol="1" spcCol="1270" anchor="ctr" anchorCtr="0"/>
        <a:lstStyle/>
        <a:p>
          <a:pPr marL="0"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gr Field Performance/A</a:t>
          </a:r>
          <a:endParaRPr lang="en-US" sz="800" b="0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  <a:p>
          <a:pPr marL="0"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Fharon Hicks</a:t>
          </a:r>
        </a:p>
      </dgm:t>
    </dgm:pt>
    <dgm:pt modelId="{6217368F-580F-4708-ADFE-2947CD8D7EA4}" type="parTrans" cxnId="{BD65AD2A-2B5D-4E75-A835-427CC1A2FCB5}">
      <dgm:prSet/>
      <dgm:spPr/>
      <dgm:t>
        <a:bodyPr/>
        <a:lstStyle/>
        <a:p>
          <a:endParaRPr lang="en-US"/>
        </a:p>
      </dgm:t>
    </dgm:pt>
    <dgm:pt modelId="{29055379-ABD5-4682-A27C-BFF76BC3F451}" type="sibTrans" cxnId="{BD65AD2A-2B5D-4E75-A835-427CC1A2FCB5}">
      <dgm:prSet/>
      <dgm:spPr/>
      <dgm:t>
        <a:bodyPr/>
        <a:lstStyle/>
        <a:p>
          <a:endParaRPr lang="en-US"/>
        </a:p>
      </dgm:t>
    </dgm:pt>
    <dgm:pt modelId="{A8B0D384-8558-40A5-BAC2-ACF4CE0CA830}" type="asst">
      <dgm:prSet custT="1"/>
      <dgm:spPr>
        <a:solidFill>
          <a:schemeClr val="accent2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 spcFirstLastPara="0" vert="horz" wrap="square" lIns="5080" tIns="5080" rIns="5080" bIns="5080" numCol="1" spcCol="1270" anchor="ctr" anchorCtr="0"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Sr Dir Operational Excellence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Jewelyn Harrington</a:t>
          </a:r>
        </a:p>
      </dgm:t>
    </dgm:pt>
    <dgm:pt modelId="{83A94C31-192F-4363-BF44-A26B80312B5D}" type="parTrans" cxnId="{CB9A6746-D56F-4177-B829-200840CA2A2B}">
      <dgm:prSet/>
      <dgm:spPr/>
      <dgm:t>
        <a:bodyPr/>
        <a:lstStyle/>
        <a:p>
          <a:endParaRPr lang="en-US"/>
        </a:p>
      </dgm:t>
    </dgm:pt>
    <dgm:pt modelId="{E645B646-BCDC-47BB-AF9F-EB47A440F12D}" type="sibTrans" cxnId="{CB9A6746-D56F-4177-B829-200840CA2A2B}">
      <dgm:prSet/>
      <dgm:spPr/>
      <dgm:t>
        <a:bodyPr/>
        <a:lstStyle/>
        <a:p>
          <a:endParaRPr lang="en-US"/>
        </a:p>
      </dgm:t>
    </dgm:pt>
    <dgm:pt modelId="{008A9A80-BD13-446C-833B-2B197FFBA9AB}" type="pres">
      <dgm:prSet presAssocID="{AEB5C877-C77B-47BD-825A-482B3EB5DF5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DF78B51-FF65-46D3-95B4-403BD752DD8A}" type="pres">
      <dgm:prSet presAssocID="{735E0ECF-1473-4459-9782-B3BFD89D844B}" presName="hierRoot1" presStyleCnt="0">
        <dgm:presLayoutVars>
          <dgm:hierBranch val="init"/>
        </dgm:presLayoutVars>
      </dgm:prSet>
      <dgm:spPr/>
    </dgm:pt>
    <dgm:pt modelId="{D1481A51-9A8E-4E3F-ACFE-BBFBAA069003}" type="pres">
      <dgm:prSet presAssocID="{735E0ECF-1473-4459-9782-B3BFD89D844B}" presName="rootComposite1" presStyleCnt="0"/>
      <dgm:spPr/>
    </dgm:pt>
    <dgm:pt modelId="{608CB659-20FB-4FD5-BD59-4EDC1CFD706A}" type="pres">
      <dgm:prSet presAssocID="{735E0ECF-1473-4459-9782-B3BFD89D844B}" presName="rootText1" presStyleLbl="node0" presStyleIdx="0" presStyleCnt="1" custScaleX="195978" custScaleY="235003" custLinFactNeighborX="-34839" custLinFactNeighborY="-34389">
        <dgm:presLayoutVars>
          <dgm:chPref val="3"/>
        </dgm:presLayoutVars>
      </dgm:prSet>
      <dgm:spPr/>
    </dgm:pt>
    <dgm:pt modelId="{663788D1-3B8C-4438-98A1-293F772704C9}" type="pres">
      <dgm:prSet presAssocID="{735E0ECF-1473-4459-9782-B3BFD89D844B}" presName="rootConnector1" presStyleLbl="node1" presStyleIdx="0" presStyleCnt="0"/>
      <dgm:spPr/>
    </dgm:pt>
    <dgm:pt modelId="{B3767120-1D84-4CBF-A42A-7963C47D4D0B}" type="pres">
      <dgm:prSet presAssocID="{735E0ECF-1473-4459-9782-B3BFD89D844B}" presName="hierChild2" presStyleCnt="0"/>
      <dgm:spPr/>
    </dgm:pt>
    <dgm:pt modelId="{AA2C4414-7EF3-4BAE-A19E-E52D628B3FAE}" type="pres">
      <dgm:prSet presAssocID="{93793C77-22A1-4452-AA5B-CD75C3A2088D}" presName="Name37" presStyleLbl="parChTrans1D2" presStyleIdx="0" presStyleCnt="7"/>
      <dgm:spPr/>
    </dgm:pt>
    <dgm:pt modelId="{6387B0E3-D0C5-444F-9B93-1D720208E895}" type="pres">
      <dgm:prSet presAssocID="{5D030A46-7792-4815-B57B-046A07F0140A}" presName="hierRoot2" presStyleCnt="0">
        <dgm:presLayoutVars>
          <dgm:hierBranch val="hang"/>
        </dgm:presLayoutVars>
      </dgm:prSet>
      <dgm:spPr/>
    </dgm:pt>
    <dgm:pt modelId="{12FC5992-2B6A-4B44-9993-4ACF04F605A0}" type="pres">
      <dgm:prSet presAssocID="{5D030A46-7792-4815-B57B-046A07F0140A}" presName="rootComposite" presStyleCnt="0"/>
      <dgm:spPr/>
    </dgm:pt>
    <dgm:pt modelId="{AC5FF851-1189-4F95-8351-A97A476B2246}" type="pres">
      <dgm:prSet presAssocID="{5D030A46-7792-4815-B57B-046A07F0140A}" presName="rootText" presStyleLbl="node2" presStyleIdx="0" presStyleCnt="7" custScaleX="142119" custScaleY="210467" custLinFactNeighborX="3020" custLinFactNeighborY="-14450">
        <dgm:presLayoutVars>
          <dgm:chPref val="3"/>
        </dgm:presLayoutVars>
      </dgm:prSet>
      <dgm:spPr/>
    </dgm:pt>
    <dgm:pt modelId="{2FD465CE-D641-4F07-9394-155CB7FBF3F3}" type="pres">
      <dgm:prSet presAssocID="{5D030A46-7792-4815-B57B-046A07F0140A}" presName="rootConnector" presStyleLbl="node2" presStyleIdx="0" presStyleCnt="7"/>
      <dgm:spPr/>
    </dgm:pt>
    <dgm:pt modelId="{C59FB238-8008-4F2B-BC0E-E3651B88BA6C}" type="pres">
      <dgm:prSet presAssocID="{5D030A46-7792-4815-B57B-046A07F0140A}" presName="hierChild4" presStyleCnt="0"/>
      <dgm:spPr/>
    </dgm:pt>
    <dgm:pt modelId="{6C54FE7E-1514-4596-B8CE-BCE54D5A582E}" type="pres">
      <dgm:prSet presAssocID="{9F1142D6-E2EB-4B62-9657-E1BFD7D3F930}" presName="Name48" presStyleLbl="parChTrans1D3" presStyleIdx="0" presStyleCnt="17"/>
      <dgm:spPr/>
    </dgm:pt>
    <dgm:pt modelId="{7D945FEB-5361-4AD6-B303-4D1323345AFD}" type="pres">
      <dgm:prSet presAssocID="{EB027484-7CEA-4CBE-BF58-C09DD2571399}" presName="hierRoot2" presStyleCnt="0">
        <dgm:presLayoutVars>
          <dgm:hierBranch val="hang"/>
        </dgm:presLayoutVars>
      </dgm:prSet>
      <dgm:spPr/>
    </dgm:pt>
    <dgm:pt modelId="{91AB74F7-9E90-4010-8B4C-0DCFF9C74B1D}" type="pres">
      <dgm:prSet presAssocID="{EB027484-7CEA-4CBE-BF58-C09DD2571399}" presName="rootComposite" presStyleCnt="0"/>
      <dgm:spPr/>
    </dgm:pt>
    <dgm:pt modelId="{857E5E5B-C52C-4438-9D5D-D1C33F85DC46}" type="pres">
      <dgm:prSet presAssocID="{EB027484-7CEA-4CBE-BF58-C09DD2571399}" presName="rootText" presStyleLbl="node3" presStyleIdx="0" presStyleCnt="8" custScaleX="100127" custScaleY="174689" custLinFactX="27136" custLinFactNeighborX="100000" custLinFactNeighborY="-42028">
        <dgm:presLayoutVars>
          <dgm:chPref val="3"/>
        </dgm:presLayoutVars>
      </dgm:prSet>
      <dgm:spPr/>
    </dgm:pt>
    <dgm:pt modelId="{116439AF-00EB-4779-BBCF-EF4570381522}" type="pres">
      <dgm:prSet presAssocID="{EB027484-7CEA-4CBE-BF58-C09DD2571399}" presName="rootConnector" presStyleLbl="node3" presStyleIdx="0" presStyleCnt="8"/>
      <dgm:spPr/>
    </dgm:pt>
    <dgm:pt modelId="{B26C6A3D-750B-4C7E-86F3-4CA28EA85EAB}" type="pres">
      <dgm:prSet presAssocID="{EB027484-7CEA-4CBE-BF58-C09DD2571399}" presName="hierChild4" presStyleCnt="0"/>
      <dgm:spPr/>
    </dgm:pt>
    <dgm:pt modelId="{5D7DF315-D2F7-466C-B680-AD076590EABC}" type="pres">
      <dgm:prSet presAssocID="{EB027484-7CEA-4CBE-BF58-C09DD2571399}" presName="hierChild5" presStyleCnt="0"/>
      <dgm:spPr/>
    </dgm:pt>
    <dgm:pt modelId="{B7136812-4C19-4C10-89D4-278D140C624B}" type="pres">
      <dgm:prSet presAssocID="{7C0EEABC-8DF5-408A-9894-C24E9F6E7191}" presName="Name48" presStyleLbl="parChTrans1D3" presStyleIdx="1" presStyleCnt="17"/>
      <dgm:spPr/>
    </dgm:pt>
    <dgm:pt modelId="{F6E2A9F1-6126-4B48-9E3D-372671B0AF6E}" type="pres">
      <dgm:prSet presAssocID="{7EB381B7-691F-4C6F-8316-D1C35BD39375}" presName="hierRoot2" presStyleCnt="0">
        <dgm:presLayoutVars>
          <dgm:hierBranch val="init"/>
        </dgm:presLayoutVars>
      </dgm:prSet>
      <dgm:spPr/>
    </dgm:pt>
    <dgm:pt modelId="{6109FB4E-A204-4923-B861-9C6B2589C5B9}" type="pres">
      <dgm:prSet presAssocID="{7EB381B7-691F-4C6F-8316-D1C35BD39375}" presName="rootComposite" presStyleCnt="0"/>
      <dgm:spPr/>
    </dgm:pt>
    <dgm:pt modelId="{F85C2A93-DDBC-49AC-A446-5B19392565FB}" type="pres">
      <dgm:prSet presAssocID="{7EB381B7-691F-4C6F-8316-D1C35BD39375}" presName="rootText" presStyleLbl="node3" presStyleIdx="1" presStyleCnt="8" custScaleX="100127" custScaleY="174689" custLinFactY="60491" custLinFactNeighborX="6819" custLinFactNeighborY="100000">
        <dgm:presLayoutVars>
          <dgm:chPref val="3"/>
        </dgm:presLayoutVars>
      </dgm:prSet>
      <dgm:spPr>
        <a:xfrm>
          <a:off x="933201" y="3598206"/>
          <a:ext cx="726384" cy="633652"/>
        </a:xfrm>
        <a:prstGeom prst="rect">
          <a:avLst/>
        </a:prstGeom>
      </dgm:spPr>
    </dgm:pt>
    <dgm:pt modelId="{1A2F3EB9-ACE1-40F9-9A56-22D4D9960033}" type="pres">
      <dgm:prSet presAssocID="{7EB381B7-691F-4C6F-8316-D1C35BD39375}" presName="rootConnector" presStyleLbl="node3" presStyleIdx="1" presStyleCnt="8"/>
      <dgm:spPr/>
    </dgm:pt>
    <dgm:pt modelId="{249B81BC-1843-479D-819B-B4ED92B6910A}" type="pres">
      <dgm:prSet presAssocID="{7EB381B7-691F-4C6F-8316-D1C35BD39375}" presName="hierChild4" presStyleCnt="0"/>
      <dgm:spPr/>
    </dgm:pt>
    <dgm:pt modelId="{6CE584A6-A9C9-44D7-8D47-A88478CAEB05}" type="pres">
      <dgm:prSet presAssocID="{7EB381B7-691F-4C6F-8316-D1C35BD39375}" presName="hierChild5" presStyleCnt="0"/>
      <dgm:spPr/>
    </dgm:pt>
    <dgm:pt modelId="{969567DE-0F9A-44AD-9AC7-2008E0BA6F36}" type="pres">
      <dgm:prSet presAssocID="{9389D54E-AB64-4042-8F70-8376E8A9A5DE}" presName="Name48" presStyleLbl="parChTrans1D3" presStyleIdx="2" presStyleCnt="17"/>
      <dgm:spPr/>
    </dgm:pt>
    <dgm:pt modelId="{22009DBF-B6DB-45A7-B7C0-24906C94241B}" type="pres">
      <dgm:prSet presAssocID="{5DD04D94-63F5-46D2-836B-799343460FE1}" presName="hierRoot2" presStyleCnt="0">
        <dgm:presLayoutVars>
          <dgm:hierBranch val="init"/>
        </dgm:presLayoutVars>
      </dgm:prSet>
      <dgm:spPr/>
    </dgm:pt>
    <dgm:pt modelId="{4AEF0D44-F622-45AB-A820-DE7A379E794A}" type="pres">
      <dgm:prSet presAssocID="{5DD04D94-63F5-46D2-836B-799343460FE1}" presName="rootComposite" presStyleCnt="0"/>
      <dgm:spPr/>
    </dgm:pt>
    <dgm:pt modelId="{2CC47D3C-9AD8-4160-81D7-015FC3BB09CF}" type="pres">
      <dgm:prSet presAssocID="{5DD04D94-63F5-46D2-836B-799343460FE1}" presName="rootText" presStyleLbl="node3" presStyleIdx="2" presStyleCnt="8" custScaleX="100127" custScaleY="174689" custLinFactY="-100000" custLinFactNeighborX="9254" custLinFactNeighborY="-158717">
        <dgm:presLayoutVars>
          <dgm:chPref val="3"/>
        </dgm:presLayoutVars>
      </dgm:prSet>
      <dgm:spPr>
        <a:xfrm>
          <a:off x="72135" y="2863606"/>
          <a:ext cx="726384" cy="633652"/>
        </a:xfrm>
        <a:prstGeom prst="rect">
          <a:avLst/>
        </a:prstGeom>
      </dgm:spPr>
    </dgm:pt>
    <dgm:pt modelId="{F011C554-4A65-43E0-B4F5-42A7471FA97C}" type="pres">
      <dgm:prSet presAssocID="{5DD04D94-63F5-46D2-836B-799343460FE1}" presName="rootConnector" presStyleLbl="node3" presStyleIdx="2" presStyleCnt="8"/>
      <dgm:spPr/>
    </dgm:pt>
    <dgm:pt modelId="{29B241D6-94D3-4880-A19E-AD69EA0928E0}" type="pres">
      <dgm:prSet presAssocID="{5DD04D94-63F5-46D2-836B-799343460FE1}" presName="hierChild4" presStyleCnt="0"/>
      <dgm:spPr/>
    </dgm:pt>
    <dgm:pt modelId="{C1CC8F63-C8A1-4472-8BF6-55DCB286020A}" type="pres">
      <dgm:prSet presAssocID="{5DD04D94-63F5-46D2-836B-799343460FE1}" presName="hierChild5" presStyleCnt="0"/>
      <dgm:spPr/>
    </dgm:pt>
    <dgm:pt modelId="{8349AF55-683F-4F61-A046-C0C13CC76D05}" type="pres">
      <dgm:prSet presAssocID="{5D030A46-7792-4815-B57B-046A07F0140A}" presName="hierChild5" presStyleCnt="0"/>
      <dgm:spPr/>
    </dgm:pt>
    <dgm:pt modelId="{2D62CCC2-632D-47CD-A6FB-AF9328D9C4C3}" type="pres">
      <dgm:prSet presAssocID="{C596D3E0-CF1C-4186-873C-266C0BDDA405}" presName="Name37" presStyleLbl="parChTrans1D2" presStyleIdx="1" presStyleCnt="7"/>
      <dgm:spPr/>
    </dgm:pt>
    <dgm:pt modelId="{DFA3A91B-E297-4234-BFEC-E07215C4A4F0}" type="pres">
      <dgm:prSet presAssocID="{C4171510-A219-4D73-ABD0-9340201AB08B}" presName="hierRoot2" presStyleCnt="0">
        <dgm:presLayoutVars>
          <dgm:hierBranch val="hang"/>
        </dgm:presLayoutVars>
      </dgm:prSet>
      <dgm:spPr/>
    </dgm:pt>
    <dgm:pt modelId="{09E9B259-37C6-4DAC-B977-55FDCFAE76AB}" type="pres">
      <dgm:prSet presAssocID="{C4171510-A219-4D73-ABD0-9340201AB08B}" presName="rootComposite" presStyleCnt="0"/>
      <dgm:spPr/>
    </dgm:pt>
    <dgm:pt modelId="{43FE5B09-28AC-4B39-BFE9-1C78BB5E9846}" type="pres">
      <dgm:prSet presAssocID="{C4171510-A219-4D73-ABD0-9340201AB08B}" presName="rootText" presStyleLbl="node2" presStyleIdx="1" presStyleCnt="7" custScaleX="142119" custScaleY="210467" custLinFactNeighborX="1782" custLinFactNeighborY="-18386">
        <dgm:presLayoutVars>
          <dgm:chPref val="3"/>
        </dgm:presLayoutVars>
      </dgm:prSet>
      <dgm:spPr/>
    </dgm:pt>
    <dgm:pt modelId="{71D9930B-3E8E-46AF-9F9D-50C9E28A14EA}" type="pres">
      <dgm:prSet presAssocID="{C4171510-A219-4D73-ABD0-9340201AB08B}" presName="rootConnector" presStyleLbl="node2" presStyleIdx="1" presStyleCnt="7"/>
      <dgm:spPr/>
    </dgm:pt>
    <dgm:pt modelId="{CE602C07-2778-4BEB-9377-8EF46EEC3364}" type="pres">
      <dgm:prSet presAssocID="{C4171510-A219-4D73-ABD0-9340201AB08B}" presName="hierChild4" presStyleCnt="0"/>
      <dgm:spPr/>
    </dgm:pt>
    <dgm:pt modelId="{5BC729F7-A32A-4515-A574-DFBC30FDA19B}" type="pres">
      <dgm:prSet presAssocID="{C4171510-A219-4D73-ABD0-9340201AB08B}" presName="hierChild5" presStyleCnt="0"/>
      <dgm:spPr/>
    </dgm:pt>
    <dgm:pt modelId="{00123271-9238-4D01-BFEA-7C510FB4B13F}" type="pres">
      <dgm:prSet presAssocID="{25183AF4-B7D2-4086-864B-599E80FCEE7C}" presName="Name111" presStyleLbl="parChTrans1D3" presStyleIdx="3" presStyleCnt="17"/>
      <dgm:spPr/>
    </dgm:pt>
    <dgm:pt modelId="{65808E33-8281-4578-8B87-16D9583639A7}" type="pres">
      <dgm:prSet presAssocID="{D542B1DD-46E2-4474-B7BF-3878A9A56C71}" presName="hierRoot3" presStyleCnt="0">
        <dgm:presLayoutVars>
          <dgm:hierBranch val="init"/>
        </dgm:presLayoutVars>
      </dgm:prSet>
      <dgm:spPr/>
    </dgm:pt>
    <dgm:pt modelId="{10C58298-5FAD-4D83-B55F-CFFF08D69FFF}" type="pres">
      <dgm:prSet presAssocID="{D542B1DD-46E2-4474-B7BF-3878A9A56C71}" presName="rootComposite3" presStyleCnt="0"/>
      <dgm:spPr/>
    </dgm:pt>
    <dgm:pt modelId="{08BECAE6-284F-47AC-9E23-23A5AEFDA4BF}" type="pres">
      <dgm:prSet presAssocID="{D542B1DD-46E2-4474-B7BF-3878A9A56C71}" presName="rootText3" presStyleLbl="asst2" presStyleIdx="0" presStyleCnt="9" custScaleX="100873" custScaleY="175736" custLinFactNeighborX="4802" custLinFactNeighborY="-42551">
        <dgm:presLayoutVars>
          <dgm:chPref val="3"/>
        </dgm:presLayoutVars>
      </dgm:prSet>
      <dgm:spPr>
        <a:xfrm>
          <a:off x="1797300" y="2861709"/>
          <a:ext cx="731796" cy="637449"/>
        </a:xfrm>
        <a:prstGeom prst="rect">
          <a:avLst/>
        </a:prstGeom>
      </dgm:spPr>
    </dgm:pt>
    <dgm:pt modelId="{522A1983-918D-4C5D-BB70-4BE5001AE973}" type="pres">
      <dgm:prSet presAssocID="{D542B1DD-46E2-4474-B7BF-3878A9A56C71}" presName="rootConnector3" presStyleLbl="asst2" presStyleIdx="0" presStyleCnt="9"/>
      <dgm:spPr/>
    </dgm:pt>
    <dgm:pt modelId="{FC581AF4-46E3-4848-86CE-06D7BC19B7A2}" type="pres">
      <dgm:prSet presAssocID="{D542B1DD-46E2-4474-B7BF-3878A9A56C71}" presName="hierChild6" presStyleCnt="0"/>
      <dgm:spPr/>
    </dgm:pt>
    <dgm:pt modelId="{46FEAFB2-BD09-4BD9-B17B-9894648A8921}" type="pres">
      <dgm:prSet presAssocID="{D542B1DD-46E2-4474-B7BF-3878A9A56C71}" presName="hierChild7" presStyleCnt="0"/>
      <dgm:spPr/>
    </dgm:pt>
    <dgm:pt modelId="{C25EAEC4-21DF-4A89-BE31-5C6BBEF765AB}" type="pres">
      <dgm:prSet presAssocID="{ABFB1316-46B0-4304-BDEC-33A2E9D6B926}" presName="Name111" presStyleLbl="parChTrans1D3" presStyleIdx="4" presStyleCnt="17"/>
      <dgm:spPr/>
    </dgm:pt>
    <dgm:pt modelId="{EFEFB371-281C-41C7-835B-CB826D279D49}" type="pres">
      <dgm:prSet presAssocID="{9A6C21B6-6027-4F30-890E-EA9CFD6B1099}" presName="hierRoot3" presStyleCnt="0">
        <dgm:presLayoutVars>
          <dgm:hierBranch val="init"/>
        </dgm:presLayoutVars>
      </dgm:prSet>
      <dgm:spPr/>
    </dgm:pt>
    <dgm:pt modelId="{7948ED5D-48C5-4B03-983B-18113A1B963F}" type="pres">
      <dgm:prSet presAssocID="{9A6C21B6-6027-4F30-890E-EA9CFD6B1099}" presName="rootComposite3" presStyleCnt="0"/>
      <dgm:spPr/>
    </dgm:pt>
    <dgm:pt modelId="{5A3ED7B4-0FA6-4985-8E94-D5A1D2C89000}" type="pres">
      <dgm:prSet presAssocID="{9A6C21B6-6027-4F30-890E-EA9CFD6B1099}" presName="rootText3" presStyleLbl="asst2" presStyleIdx="1" presStyleCnt="9" custScaleX="100873" custScaleY="175736" custLinFactNeighborX="3022" custLinFactNeighborY="-42551">
        <dgm:presLayoutVars>
          <dgm:chPref val="3"/>
        </dgm:presLayoutVars>
      </dgm:prSet>
      <dgm:spPr>
        <a:xfrm>
          <a:off x="2668530" y="2861709"/>
          <a:ext cx="731796" cy="637449"/>
        </a:xfrm>
        <a:prstGeom prst="rect">
          <a:avLst/>
        </a:prstGeom>
      </dgm:spPr>
    </dgm:pt>
    <dgm:pt modelId="{8E05BBDF-279D-4BA6-9EBE-6CDC6A0882C4}" type="pres">
      <dgm:prSet presAssocID="{9A6C21B6-6027-4F30-890E-EA9CFD6B1099}" presName="rootConnector3" presStyleLbl="asst2" presStyleIdx="1" presStyleCnt="9"/>
      <dgm:spPr/>
    </dgm:pt>
    <dgm:pt modelId="{9DD2B37E-D22C-459C-AB76-74B923E70313}" type="pres">
      <dgm:prSet presAssocID="{9A6C21B6-6027-4F30-890E-EA9CFD6B1099}" presName="hierChild6" presStyleCnt="0"/>
      <dgm:spPr/>
    </dgm:pt>
    <dgm:pt modelId="{570B6B19-30C9-4597-9983-8D100C390116}" type="pres">
      <dgm:prSet presAssocID="{9A6C21B6-6027-4F30-890E-EA9CFD6B1099}" presName="hierChild7" presStyleCnt="0"/>
      <dgm:spPr/>
    </dgm:pt>
    <dgm:pt modelId="{04B36B14-FDED-4614-BB74-97EE5BB8F52D}" type="pres">
      <dgm:prSet presAssocID="{DD5605C9-86D4-46AB-815E-97791D76E890}" presName="Name37" presStyleLbl="parChTrans1D2" presStyleIdx="2" presStyleCnt="7"/>
      <dgm:spPr/>
    </dgm:pt>
    <dgm:pt modelId="{106AC147-102C-49EA-AA5F-EF5284021786}" type="pres">
      <dgm:prSet presAssocID="{25AF2A20-742B-4B54-82EE-1A36C3C1A1C1}" presName="hierRoot2" presStyleCnt="0">
        <dgm:presLayoutVars>
          <dgm:hierBranch val="hang"/>
        </dgm:presLayoutVars>
      </dgm:prSet>
      <dgm:spPr/>
    </dgm:pt>
    <dgm:pt modelId="{A185BBF1-A3C4-4167-BD2D-01117B8865F1}" type="pres">
      <dgm:prSet presAssocID="{25AF2A20-742B-4B54-82EE-1A36C3C1A1C1}" presName="rootComposite" presStyleCnt="0"/>
      <dgm:spPr/>
    </dgm:pt>
    <dgm:pt modelId="{6F5EABE9-ADCF-4968-81B3-04689CB922B9}" type="pres">
      <dgm:prSet presAssocID="{25AF2A20-742B-4B54-82EE-1A36C3C1A1C1}" presName="rootText" presStyleLbl="node2" presStyleIdx="2" presStyleCnt="7" custScaleX="142119" custScaleY="210467" custLinFactNeighborX="3146" custLinFactNeighborY="-18386">
        <dgm:presLayoutVars>
          <dgm:chPref val="3"/>
        </dgm:presLayoutVars>
      </dgm:prSet>
      <dgm:spPr/>
    </dgm:pt>
    <dgm:pt modelId="{492EE907-4099-4D6E-8EF8-4A500681DBF1}" type="pres">
      <dgm:prSet presAssocID="{25AF2A20-742B-4B54-82EE-1A36C3C1A1C1}" presName="rootConnector" presStyleLbl="node2" presStyleIdx="2" presStyleCnt="7"/>
      <dgm:spPr/>
    </dgm:pt>
    <dgm:pt modelId="{604BD7F7-0389-4ECB-B419-E102FB55CEAC}" type="pres">
      <dgm:prSet presAssocID="{25AF2A20-742B-4B54-82EE-1A36C3C1A1C1}" presName="hierChild4" presStyleCnt="0"/>
      <dgm:spPr/>
    </dgm:pt>
    <dgm:pt modelId="{EA7938CB-A733-44C1-A071-6CDE35869C6C}" type="pres">
      <dgm:prSet presAssocID="{FD10F90F-B12D-4036-82A3-E1375D5847BB}" presName="Name48" presStyleLbl="parChTrans1D3" presStyleIdx="5" presStyleCnt="17"/>
      <dgm:spPr/>
    </dgm:pt>
    <dgm:pt modelId="{C9F3BD78-2D0F-4066-8C62-A4BEFC28C0D0}" type="pres">
      <dgm:prSet presAssocID="{715F685F-1B97-4735-9D7D-F06EC3224C5B}" presName="hierRoot2" presStyleCnt="0">
        <dgm:presLayoutVars>
          <dgm:hierBranch val="hang"/>
        </dgm:presLayoutVars>
      </dgm:prSet>
      <dgm:spPr/>
    </dgm:pt>
    <dgm:pt modelId="{2F419F38-8B4E-4E64-A62C-E8BE420A6A18}" type="pres">
      <dgm:prSet presAssocID="{715F685F-1B97-4735-9D7D-F06EC3224C5B}" presName="rootComposite" presStyleCnt="0"/>
      <dgm:spPr/>
    </dgm:pt>
    <dgm:pt modelId="{77B0771F-7A97-4F55-B5C4-7CE3A24EA5FB}" type="pres">
      <dgm:prSet presAssocID="{715F685F-1B97-4735-9D7D-F06EC3224C5B}" presName="rootText" presStyleLbl="node3" presStyleIdx="3" presStyleCnt="8" custScaleY="174571" custLinFactY="58653" custLinFactNeighborX="325" custLinFactNeighborY="100000">
        <dgm:presLayoutVars>
          <dgm:chPref val="3"/>
        </dgm:presLayoutVars>
      </dgm:prSet>
      <dgm:spPr>
        <a:xfrm>
          <a:off x="5810204" y="2408043"/>
          <a:ext cx="1125955" cy="562977"/>
        </a:xfrm>
        <a:prstGeom prst="rect">
          <a:avLst/>
        </a:prstGeom>
      </dgm:spPr>
    </dgm:pt>
    <dgm:pt modelId="{3F7C118D-3B24-43E5-AF62-CC83C5D3392C}" type="pres">
      <dgm:prSet presAssocID="{715F685F-1B97-4735-9D7D-F06EC3224C5B}" presName="rootConnector" presStyleLbl="node3" presStyleIdx="3" presStyleCnt="8"/>
      <dgm:spPr/>
    </dgm:pt>
    <dgm:pt modelId="{6C7F5E37-52AC-45D6-9664-BC3749591BBC}" type="pres">
      <dgm:prSet presAssocID="{715F685F-1B97-4735-9D7D-F06EC3224C5B}" presName="hierChild4" presStyleCnt="0"/>
      <dgm:spPr/>
    </dgm:pt>
    <dgm:pt modelId="{FEFB6E19-5B2F-4FA2-B32C-4A76C28145E3}" type="pres">
      <dgm:prSet presAssocID="{715F685F-1B97-4735-9D7D-F06EC3224C5B}" presName="hierChild5" presStyleCnt="0"/>
      <dgm:spPr/>
    </dgm:pt>
    <dgm:pt modelId="{900AFB7F-2B1C-4F2F-90FD-534B3C5D185A}" type="pres">
      <dgm:prSet presAssocID="{868AF991-4EBE-4263-87F3-E67A2033B966}" presName="Name48" presStyleLbl="parChTrans1D3" presStyleIdx="6" presStyleCnt="17"/>
      <dgm:spPr/>
    </dgm:pt>
    <dgm:pt modelId="{D2CE9645-9167-4CA8-9FAC-E5772265F1F1}" type="pres">
      <dgm:prSet presAssocID="{111E18F4-EF8B-4472-A2D1-E52F7FB4758B}" presName="hierRoot2" presStyleCnt="0">
        <dgm:presLayoutVars>
          <dgm:hierBranch val="hang"/>
        </dgm:presLayoutVars>
      </dgm:prSet>
      <dgm:spPr/>
    </dgm:pt>
    <dgm:pt modelId="{C62351E5-F559-42B9-866D-4EA52F6E0AC4}" type="pres">
      <dgm:prSet presAssocID="{111E18F4-EF8B-4472-A2D1-E52F7FB4758B}" presName="rootComposite" presStyleCnt="0"/>
      <dgm:spPr/>
    </dgm:pt>
    <dgm:pt modelId="{7F2C8B3F-CC73-4AF4-B493-142FDFBE4550}" type="pres">
      <dgm:prSet presAssocID="{111E18F4-EF8B-4472-A2D1-E52F7FB4758B}" presName="rootText" presStyleLbl="node3" presStyleIdx="4" presStyleCnt="8" custScaleX="94848" custScaleY="187583" custLinFactY="52106" custLinFactNeighborX="4644" custLinFactNeighborY="100000">
        <dgm:presLayoutVars>
          <dgm:chPref val="3"/>
        </dgm:presLayoutVars>
      </dgm:prSet>
      <dgm:spPr/>
    </dgm:pt>
    <dgm:pt modelId="{91F4DFD6-08F3-4398-8E0A-317B7ABFFAC4}" type="pres">
      <dgm:prSet presAssocID="{111E18F4-EF8B-4472-A2D1-E52F7FB4758B}" presName="rootConnector" presStyleLbl="node3" presStyleIdx="4" presStyleCnt="8"/>
      <dgm:spPr/>
    </dgm:pt>
    <dgm:pt modelId="{5A4AA5E7-9412-4F52-B3B0-D34C8376690E}" type="pres">
      <dgm:prSet presAssocID="{111E18F4-EF8B-4472-A2D1-E52F7FB4758B}" presName="hierChild4" presStyleCnt="0"/>
      <dgm:spPr/>
    </dgm:pt>
    <dgm:pt modelId="{56D83448-7242-4F44-A164-1F2F2EA1B593}" type="pres">
      <dgm:prSet presAssocID="{111E18F4-EF8B-4472-A2D1-E52F7FB4758B}" presName="hierChild5" presStyleCnt="0"/>
      <dgm:spPr/>
    </dgm:pt>
    <dgm:pt modelId="{DC47B5BE-0D25-4337-B97F-303E26D4FF58}" type="pres">
      <dgm:prSet presAssocID="{25AF2A20-742B-4B54-82EE-1A36C3C1A1C1}" presName="hierChild5" presStyleCnt="0"/>
      <dgm:spPr/>
    </dgm:pt>
    <dgm:pt modelId="{C52852C6-20B4-46A2-B6DA-5FE9764A5987}" type="pres">
      <dgm:prSet presAssocID="{CC20C97E-EFDD-4A67-821C-3B85E1B7A98A}" presName="Name37" presStyleLbl="parChTrans1D2" presStyleIdx="3" presStyleCnt="7"/>
      <dgm:spPr/>
    </dgm:pt>
    <dgm:pt modelId="{B608C61A-120B-4251-B9EB-E7EDC8273B6F}" type="pres">
      <dgm:prSet presAssocID="{D9AFF782-FE71-42BB-99D0-C8D65EEC9AB8}" presName="hierRoot2" presStyleCnt="0">
        <dgm:presLayoutVars>
          <dgm:hierBranch val="hang"/>
        </dgm:presLayoutVars>
      </dgm:prSet>
      <dgm:spPr/>
    </dgm:pt>
    <dgm:pt modelId="{6DEDE116-3EA2-4404-BA72-3E63AF293AAD}" type="pres">
      <dgm:prSet presAssocID="{D9AFF782-FE71-42BB-99D0-C8D65EEC9AB8}" presName="rootComposite" presStyleCnt="0"/>
      <dgm:spPr/>
    </dgm:pt>
    <dgm:pt modelId="{93A91F1D-7D22-4985-85A0-25585DC5988D}" type="pres">
      <dgm:prSet presAssocID="{D9AFF782-FE71-42BB-99D0-C8D65EEC9AB8}" presName="rootText" presStyleLbl="node2" presStyleIdx="3" presStyleCnt="7" custScaleX="141657" custScaleY="209782" custLinFactNeighborX="9903" custLinFactNeighborY="-17701">
        <dgm:presLayoutVars>
          <dgm:chPref val="3"/>
        </dgm:presLayoutVars>
      </dgm:prSet>
      <dgm:spPr/>
    </dgm:pt>
    <dgm:pt modelId="{C6591505-D2DB-4716-ADD2-239A1C546601}" type="pres">
      <dgm:prSet presAssocID="{D9AFF782-FE71-42BB-99D0-C8D65EEC9AB8}" presName="rootConnector" presStyleLbl="node2" presStyleIdx="3" presStyleCnt="7"/>
      <dgm:spPr/>
    </dgm:pt>
    <dgm:pt modelId="{938C0902-ABBE-4EAB-8859-4C995FBF347B}" type="pres">
      <dgm:prSet presAssocID="{D9AFF782-FE71-42BB-99D0-C8D65EEC9AB8}" presName="hierChild4" presStyleCnt="0"/>
      <dgm:spPr/>
    </dgm:pt>
    <dgm:pt modelId="{624BD74D-0A26-4504-89C2-C0CE0AB010B7}" type="pres">
      <dgm:prSet presAssocID="{C578214E-0A14-4CEF-9DE7-9D43947495E8}" presName="Name48" presStyleLbl="parChTrans1D3" presStyleIdx="7" presStyleCnt="17"/>
      <dgm:spPr/>
    </dgm:pt>
    <dgm:pt modelId="{50712217-9B09-4EE8-97B8-7FFA82E90CAF}" type="pres">
      <dgm:prSet presAssocID="{C57E2B08-C14F-4730-8F05-46A4E50E07A4}" presName="hierRoot2" presStyleCnt="0">
        <dgm:presLayoutVars>
          <dgm:hierBranch val="hang"/>
        </dgm:presLayoutVars>
      </dgm:prSet>
      <dgm:spPr/>
    </dgm:pt>
    <dgm:pt modelId="{2584DB84-6D5D-4941-9889-C877F4F137C8}" type="pres">
      <dgm:prSet presAssocID="{C57E2B08-C14F-4730-8F05-46A4E50E07A4}" presName="rootComposite" presStyleCnt="0"/>
      <dgm:spPr/>
    </dgm:pt>
    <dgm:pt modelId="{BD124048-E30E-4AF4-8927-D2BF6DF4E839}" type="pres">
      <dgm:prSet presAssocID="{C57E2B08-C14F-4730-8F05-46A4E50E07A4}" presName="rootText" presStyleLbl="node3" presStyleIdx="5" presStyleCnt="8" custScaleX="94848" custScaleY="187583" custLinFactY="51458" custLinFactNeighborX="7945" custLinFactNeighborY="100000">
        <dgm:presLayoutVars>
          <dgm:chPref val="3"/>
        </dgm:presLayoutVars>
      </dgm:prSet>
      <dgm:spPr/>
    </dgm:pt>
    <dgm:pt modelId="{266370AC-8E10-4BE9-8937-5CACF751948A}" type="pres">
      <dgm:prSet presAssocID="{C57E2B08-C14F-4730-8F05-46A4E50E07A4}" presName="rootConnector" presStyleLbl="node3" presStyleIdx="5" presStyleCnt="8"/>
      <dgm:spPr/>
    </dgm:pt>
    <dgm:pt modelId="{0A7035F7-D8A1-4D40-96C5-ED61913FA500}" type="pres">
      <dgm:prSet presAssocID="{C57E2B08-C14F-4730-8F05-46A4E50E07A4}" presName="hierChild4" presStyleCnt="0"/>
      <dgm:spPr/>
    </dgm:pt>
    <dgm:pt modelId="{E25535BC-DEEC-4619-8D55-743647BB00EC}" type="pres">
      <dgm:prSet presAssocID="{C57E2B08-C14F-4730-8F05-46A4E50E07A4}" presName="hierChild5" presStyleCnt="0"/>
      <dgm:spPr/>
    </dgm:pt>
    <dgm:pt modelId="{E4B24ED9-AEA6-4719-9AAC-19425E50102E}" type="pres">
      <dgm:prSet presAssocID="{35915763-0031-42C8-BC36-F3886FBA273E}" presName="Name48" presStyleLbl="parChTrans1D3" presStyleIdx="8" presStyleCnt="17"/>
      <dgm:spPr/>
    </dgm:pt>
    <dgm:pt modelId="{F3B32609-A687-45C6-A410-EBD5DD62AE65}" type="pres">
      <dgm:prSet presAssocID="{7CCC1F36-2DB0-4F7B-B68E-5AD0930837A4}" presName="hierRoot2" presStyleCnt="0">
        <dgm:presLayoutVars>
          <dgm:hierBranch val="hang"/>
        </dgm:presLayoutVars>
      </dgm:prSet>
      <dgm:spPr/>
    </dgm:pt>
    <dgm:pt modelId="{3A92B88B-6963-4975-BD04-61542137B14A}" type="pres">
      <dgm:prSet presAssocID="{7CCC1F36-2DB0-4F7B-B68E-5AD0930837A4}" presName="rootComposite" presStyleCnt="0"/>
      <dgm:spPr/>
    </dgm:pt>
    <dgm:pt modelId="{24BC7984-6149-4663-938B-04A9C51DF1FB}" type="pres">
      <dgm:prSet presAssocID="{7CCC1F36-2DB0-4F7B-B68E-5AD0930837A4}" presName="rootText" presStyleLbl="node3" presStyleIdx="6" presStyleCnt="8" custScaleX="94848" custScaleY="187583" custLinFactY="51144" custLinFactNeighborX="10676" custLinFactNeighborY="100000">
        <dgm:presLayoutVars>
          <dgm:chPref val="3"/>
        </dgm:presLayoutVars>
      </dgm:prSet>
      <dgm:spPr/>
    </dgm:pt>
    <dgm:pt modelId="{2C260D77-769B-4ABC-98F4-4E6E3CB1EF90}" type="pres">
      <dgm:prSet presAssocID="{7CCC1F36-2DB0-4F7B-B68E-5AD0930837A4}" presName="rootConnector" presStyleLbl="node3" presStyleIdx="6" presStyleCnt="8"/>
      <dgm:spPr/>
    </dgm:pt>
    <dgm:pt modelId="{8AC5A5D0-225B-45A7-B460-89BB69579712}" type="pres">
      <dgm:prSet presAssocID="{7CCC1F36-2DB0-4F7B-B68E-5AD0930837A4}" presName="hierChild4" presStyleCnt="0"/>
      <dgm:spPr/>
    </dgm:pt>
    <dgm:pt modelId="{A77269D1-D7AC-4886-9B9C-6921666DD936}" type="pres">
      <dgm:prSet presAssocID="{7CCC1F36-2DB0-4F7B-B68E-5AD0930837A4}" presName="hierChild5" presStyleCnt="0"/>
      <dgm:spPr/>
    </dgm:pt>
    <dgm:pt modelId="{2FE1CF98-76D1-4570-9A8A-D319916AAC7F}" type="pres">
      <dgm:prSet presAssocID="{D9AFF782-FE71-42BB-99D0-C8D65EEC9AB8}" presName="hierChild5" presStyleCnt="0"/>
      <dgm:spPr/>
    </dgm:pt>
    <dgm:pt modelId="{F929F757-2139-4639-B1D3-CE8ADCE78BBA}" type="pres">
      <dgm:prSet presAssocID="{C17649F9-BFF1-4BE6-B8B8-303453278CF0}" presName="Name37" presStyleLbl="parChTrans1D2" presStyleIdx="4" presStyleCnt="7"/>
      <dgm:spPr/>
    </dgm:pt>
    <dgm:pt modelId="{4C37117A-CAE2-4740-80C0-AA5E6A50142C}" type="pres">
      <dgm:prSet presAssocID="{7E9A69E0-D2E0-4016-9D17-91D1DF9FC6D8}" presName="hierRoot2" presStyleCnt="0">
        <dgm:presLayoutVars>
          <dgm:hierBranch val="init"/>
        </dgm:presLayoutVars>
      </dgm:prSet>
      <dgm:spPr/>
    </dgm:pt>
    <dgm:pt modelId="{8DB180DB-7B7F-4C04-8F2C-12715E3C1CBF}" type="pres">
      <dgm:prSet presAssocID="{7E9A69E0-D2E0-4016-9D17-91D1DF9FC6D8}" presName="rootComposite" presStyleCnt="0"/>
      <dgm:spPr/>
    </dgm:pt>
    <dgm:pt modelId="{6CAAA1BE-7B87-4DED-9787-733449A80F28}" type="pres">
      <dgm:prSet presAssocID="{7E9A69E0-D2E0-4016-9D17-91D1DF9FC6D8}" presName="rootText" presStyleLbl="node2" presStyleIdx="4" presStyleCnt="7" custScaleX="141657" custScaleY="209782" custLinFactNeighborX="3097" custLinFactNeighborY="-17701">
        <dgm:presLayoutVars>
          <dgm:chPref val="3"/>
        </dgm:presLayoutVars>
      </dgm:prSet>
      <dgm:spPr/>
    </dgm:pt>
    <dgm:pt modelId="{B028789A-6B95-4740-BB5B-7D4F9F092D34}" type="pres">
      <dgm:prSet presAssocID="{7E9A69E0-D2E0-4016-9D17-91D1DF9FC6D8}" presName="rootConnector" presStyleLbl="node2" presStyleIdx="4" presStyleCnt="7"/>
      <dgm:spPr/>
    </dgm:pt>
    <dgm:pt modelId="{C9D03D52-1B43-4CEF-8065-272B862E18D2}" type="pres">
      <dgm:prSet presAssocID="{7E9A69E0-D2E0-4016-9D17-91D1DF9FC6D8}" presName="hierChild4" presStyleCnt="0"/>
      <dgm:spPr/>
    </dgm:pt>
    <dgm:pt modelId="{957E809D-C625-45E2-A4FE-FD099A104FCD}" type="pres">
      <dgm:prSet presAssocID="{9F575CF3-260F-414F-A0FA-8DEC83767B2D}" presName="Name37" presStyleLbl="parChTrans1D3" presStyleIdx="9" presStyleCnt="17"/>
      <dgm:spPr/>
    </dgm:pt>
    <dgm:pt modelId="{2C50B6DC-888C-4E9E-BF3E-94B158D3BFC2}" type="pres">
      <dgm:prSet presAssocID="{7BD08634-225A-4977-823F-7B46D43F9618}" presName="hierRoot2" presStyleCnt="0">
        <dgm:presLayoutVars>
          <dgm:hierBranch val="init"/>
        </dgm:presLayoutVars>
      </dgm:prSet>
      <dgm:spPr/>
    </dgm:pt>
    <dgm:pt modelId="{D5DEC7AC-2AE5-4469-8CFA-9B75C61B4D95}" type="pres">
      <dgm:prSet presAssocID="{7BD08634-225A-4977-823F-7B46D43F9618}" presName="rootComposite" presStyleCnt="0"/>
      <dgm:spPr/>
    </dgm:pt>
    <dgm:pt modelId="{114A1E9B-4244-47DD-A8EB-7C1B5D345B1B}" type="pres">
      <dgm:prSet presAssocID="{7BD08634-225A-4977-823F-7B46D43F9618}" presName="rootText" presStyleLbl="node3" presStyleIdx="7" presStyleCnt="8" custScaleX="94848" custScaleY="187583" custLinFactNeighborX="-6678" custLinFactNeighborY="-72280">
        <dgm:presLayoutVars>
          <dgm:chPref val="3"/>
        </dgm:presLayoutVars>
      </dgm:prSet>
      <dgm:spPr/>
    </dgm:pt>
    <dgm:pt modelId="{7CF936D8-A8D3-49F7-978F-412495FF0F34}" type="pres">
      <dgm:prSet presAssocID="{7BD08634-225A-4977-823F-7B46D43F9618}" presName="rootConnector" presStyleLbl="node3" presStyleIdx="7" presStyleCnt="8"/>
      <dgm:spPr/>
    </dgm:pt>
    <dgm:pt modelId="{0BB22FED-9391-4671-A011-2A1802731C2A}" type="pres">
      <dgm:prSet presAssocID="{7BD08634-225A-4977-823F-7B46D43F9618}" presName="hierChild4" presStyleCnt="0"/>
      <dgm:spPr/>
    </dgm:pt>
    <dgm:pt modelId="{0B3BE33A-84D1-4E27-BB41-7CA97170FD4E}" type="pres">
      <dgm:prSet presAssocID="{7BD08634-225A-4977-823F-7B46D43F9618}" presName="hierChild5" presStyleCnt="0"/>
      <dgm:spPr/>
    </dgm:pt>
    <dgm:pt modelId="{8BF2F9AF-B424-49FA-95AD-004F64B3E189}" type="pres">
      <dgm:prSet presAssocID="{7E9A69E0-D2E0-4016-9D17-91D1DF9FC6D8}" presName="hierChild5" presStyleCnt="0"/>
      <dgm:spPr/>
    </dgm:pt>
    <dgm:pt modelId="{807C63BC-444B-43F4-BA09-4D600060F48A}" type="pres">
      <dgm:prSet presAssocID="{DCD74B8A-E4FC-46DF-9BB7-B7BDB095BCDF}" presName="Name111" presStyleLbl="parChTrans1D3" presStyleIdx="10" presStyleCnt="17"/>
      <dgm:spPr/>
    </dgm:pt>
    <dgm:pt modelId="{B6122BA3-354D-4FAB-89AA-4D6A193DB465}" type="pres">
      <dgm:prSet presAssocID="{70AF50A3-7956-46A4-B3EC-CC9D98A8980A}" presName="hierRoot3" presStyleCnt="0">
        <dgm:presLayoutVars>
          <dgm:hierBranch val="init"/>
        </dgm:presLayoutVars>
      </dgm:prSet>
      <dgm:spPr/>
    </dgm:pt>
    <dgm:pt modelId="{B59EC136-8161-4D0C-944F-BACC6BBE9CB8}" type="pres">
      <dgm:prSet presAssocID="{70AF50A3-7956-46A4-B3EC-CC9D98A8980A}" presName="rootComposite3" presStyleCnt="0"/>
      <dgm:spPr/>
    </dgm:pt>
    <dgm:pt modelId="{C4D0D079-FAD2-4139-AE0D-74231AED71A6}" type="pres">
      <dgm:prSet presAssocID="{70AF50A3-7956-46A4-B3EC-CC9D98A8980A}" presName="rootText3" presStyleLbl="asst2" presStyleIdx="2" presStyleCnt="9" custScaleX="94848" custScaleY="187583" custLinFactY="57327" custLinFactNeighborX="465" custLinFactNeighborY="100000">
        <dgm:presLayoutVars>
          <dgm:chPref val="3"/>
        </dgm:presLayoutVars>
      </dgm:prSet>
      <dgm:spPr/>
    </dgm:pt>
    <dgm:pt modelId="{9AA3ED86-7676-46C9-ACE6-D8F3BA630E14}" type="pres">
      <dgm:prSet presAssocID="{70AF50A3-7956-46A4-B3EC-CC9D98A8980A}" presName="rootConnector3" presStyleLbl="asst2" presStyleIdx="2" presStyleCnt="9"/>
      <dgm:spPr/>
    </dgm:pt>
    <dgm:pt modelId="{A0F80E5E-6DEF-42F1-A475-8102D94CA6AD}" type="pres">
      <dgm:prSet presAssocID="{70AF50A3-7956-46A4-B3EC-CC9D98A8980A}" presName="hierChild6" presStyleCnt="0"/>
      <dgm:spPr/>
    </dgm:pt>
    <dgm:pt modelId="{BA336244-C01D-456C-B608-6BB85E656AE7}" type="pres">
      <dgm:prSet presAssocID="{70AF50A3-7956-46A4-B3EC-CC9D98A8980A}" presName="hierChild7" presStyleCnt="0"/>
      <dgm:spPr/>
    </dgm:pt>
    <dgm:pt modelId="{3328B508-85C9-40F6-9185-8180C7701126}" type="pres">
      <dgm:prSet presAssocID="{A6B55F34-AD4F-48E5-B1C5-98E9B9FBFD4B}" presName="Name37" presStyleLbl="parChTrans1D2" presStyleIdx="5" presStyleCnt="7"/>
      <dgm:spPr/>
    </dgm:pt>
    <dgm:pt modelId="{CBFE777F-B0CC-43EC-B3FD-0D93D5B0EAB2}" type="pres">
      <dgm:prSet presAssocID="{8410ED97-D266-4605-BA7F-9D2AE9B10EE6}" presName="hierRoot2" presStyleCnt="0">
        <dgm:presLayoutVars>
          <dgm:hierBranch val="init"/>
        </dgm:presLayoutVars>
      </dgm:prSet>
      <dgm:spPr/>
    </dgm:pt>
    <dgm:pt modelId="{70218E99-DE78-4986-A623-C98C96D6E265}" type="pres">
      <dgm:prSet presAssocID="{8410ED97-D266-4605-BA7F-9D2AE9B10EE6}" presName="rootComposite" presStyleCnt="0"/>
      <dgm:spPr/>
    </dgm:pt>
    <dgm:pt modelId="{8F7B87B7-5054-4628-BAC8-8537DE0CCE45}" type="pres">
      <dgm:prSet presAssocID="{8410ED97-D266-4605-BA7F-9D2AE9B10EE6}" presName="rootText" presStyleLbl="node2" presStyleIdx="5" presStyleCnt="7" custScaleX="141657" custScaleY="209782" custLinFactNeighborX="-22071" custLinFactNeighborY="-17701">
        <dgm:presLayoutVars>
          <dgm:chPref val="3"/>
        </dgm:presLayoutVars>
      </dgm:prSet>
      <dgm:spPr/>
    </dgm:pt>
    <dgm:pt modelId="{D61AA0A1-C51C-464A-B166-25EF83B252CF}" type="pres">
      <dgm:prSet presAssocID="{8410ED97-D266-4605-BA7F-9D2AE9B10EE6}" presName="rootConnector" presStyleLbl="node2" presStyleIdx="5" presStyleCnt="7"/>
      <dgm:spPr/>
    </dgm:pt>
    <dgm:pt modelId="{C54A06DB-D12C-4F72-93F5-EDC0F407A7E4}" type="pres">
      <dgm:prSet presAssocID="{8410ED97-D266-4605-BA7F-9D2AE9B10EE6}" presName="hierChild4" presStyleCnt="0"/>
      <dgm:spPr/>
    </dgm:pt>
    <dgm:pt modelId="{E0B5B1C4-8882-4F07-BA4B-DA0932204C61}" type="pres">
      <dgm:prSet presAssocID="{8410ED97-D266-4605-BA7F-9D2AE9B10EE6}" presName="hierChild5" presStyleCnt="0"/>
      <dgm:spPr/>
    </dgm:pt>
    <dgm:pt modelId="{1818E30B-B547-4E0E-BC86-69545FA8ADC9}" type="pres">
      <dgm:prSet presAssocID="{21E8E939-A3EA-468E-BB6F-0D06B0D9E286}" presName="Name111" presStyleLbl="parChTrans1D3" presStyleIdx="11" presStyleCnt="17"/>
      <dgm:spPr/>
    </dgm:pt>
    <dgm:pt modelId="{BE8E51CB-A712-4A81-911A-B5DFC23087C4}" type="pres">
      <dgm:prSet presAssocID="{390A138D-0D14-4672-A950-BB8F9BA5456F}" presName="hierRoot3" presStyleCnt="0">
        <dgm:presLayoutVars>
          <dgm:hierBranch val="init"/>
        </dgm:presLayoutVars>
      </dgm:prSet>
      <dgm:spPr/>
    </dgm:pt>
    <dgm:pt modelId="{97FF65EE-DF2F-4F70-8B15-5138448E519E}" type="pres">
      <dgm:prSet presAssocID="{390A138D-0D14-4672-A950-BB8F9BA5456F}" presName="rootComposite3" presStyleCnt="0"/>
      <dgm:spPr/>
    </dgm:pt>
    <dgm:pt modelId="{08366D94-90F2-4C2C-AE28-E772A8984FA4}" type="pres">
      <dgm:prSet presAssocID="{390A138D-0D14-4672-A950-BB8F9BA5456F}" presName="rootText3" presStyleLbl="asst2" presStyleIdx="3" presStyleCnt="9" custScaleX="92556" custScaleY="177996" custLinFactY="62986" custLinFactNeighborX="-19933" custLinFactNeighborY="100000">
        <dgm:presLayoutVars>
          <dgm:chPref val="3"/>
        </dgm:presLayoutVars>
      </dgm:prSet>
      <dgm:spPr/>
    </dgm:pt>
    <dgm:pt modelId="{A373176A-71B9-4DF1-81D6-ACC84D9C7534}" type="pres">
      <dgm:prSet presAssocID="{390A138D-0D14-4672-A950-BB8F9BA5456F}" presName="rootConnector3" presStyleLbl="asst2" presStyleIdx="3" presStyleCnt="9"/>
      <dgm:spPr/>
    </dgm:pt>
    <dgm:pt modelId="{33984155-CA50-40C7-B0BA-F1BA5609F06D}" type="pres">
      <dgm:prSet presAssocID="{390A138D-0D14-4672-A950-BB8F9BA5456F}" presName="hierChild6" presStyleCnt="0"/>
      <dgm:spPr/>
    </dgm:pt>
    <dgm:pt modelId="{06ECBFB7-6C78-4EB8-828E-D6AC586D2169}" type="pres">
      <dgm:prSet presAssocID="{390A138D-0D14-4672-A950-BB8F9BA5456F}" presName="hierChild7" presStyleCnt="0"/>
      <dgm:spPr/>
    </dgm:pt>
    <dgm:pt modelId="{02E30223-5A85-4CD9-B03E-A6B5D0EFBA44}" type="pres">
      <dgm:prSet presAssocID="{A2E77860-7E2A-433A-966B-68E3B0ED292E}" presName="Name111" presStyleLbl="parChTrans1D3" presStyleIdx="12" presStyleCnt="17"/>
      <dgm:spPr/>
    </dgm:pt>
    <dgm:pt modelId="{05048C6B-376C-41CB-9C9A-583F276A0CBA}" type="pres">
      <dgm:prSet presAssocID="{8563E5FE-E641-4FF9-99CC-FF9B214DF7CC}" presName="hierRoot3" presStyleCnt="0">
        <dgm:presLayoutVars>
          <dgm:hierBranch val="init"/>
        </dgm:presLayoutVars>
      </dgm:prSet>
      <dgm:spPr/>
    </dgm:pt>
    <dgm:pt modelId="{2B71A75A-E482-419C-ACC0-94C1CA9AC202}" type="pres">
      <dgm:prSet presAssocID="{8563E5FE-E641-4FF9-99CC-FF9B214DF7CC}" presName="rootComposite3" presStyleCnt="0"/>
      <dgm:spPr/>
    </dgm:pt>
    <dgm:pt modelId="{7EF34FFA-702D-4DB0-9B61-4E21BA57A82D}" type="pres">
      <dgm:prSet presAssocID="{8563E5FE-E641-4FF9-99CC-FF9B214DF7CC}" presName="rootText3" presStyleLbl="asst2" presStyleIdx="4" presStyleCnt="9" custScaleX="94848" custScaleY="187583" custLinFactY="59138" custLinFactNeighborX="-24031" custLinFactNeighborY="100000">
        <dgm:presLayoutVars>
          <dgm:chPref val="3"/>
        </dgm:presLayoutVars>
      </dgm:prSet>
      <dgm:spPr/>
    </dgm:pt>
    <dgm:pt modelId="{E7761F98-2E0E-4279-9A33-1D2E50C44278}" type="pres">
      <dgm:prSet presAssocID="{8563E5FE-E641-4FF9-99CC-FF9B214DF7CC}" presName="rootConnector3" presStyleLbl="asst2" presStyleIdx="4" presStyleCnt="9"/>
      <dgm:spPr/>
    </dgm:pt>
    <dgm:pt modelId="{90EEF990-3B48-41FA-A052-A1EF6D5ACBB8}" type="pres">
      <dgm:prSet presAssocID="{8563E5FE-E641-4FF9-99CC-FF9B214DF7CC}" presName="hierChild6" presStyleCnt="0"/>
      <dgm:spPr/>
    </dgm:pt>
    <dgm:pt modelId="{A4693D4C-441A-44CF-9AE1-AEA5ED5F37A0}" type="pres">
      <dgm:prSet presAssocID="{8563E5FE-E641-4FF9-99CC-FF9B214DF7CC}" presName="hierChild7" presStyleCnt="0"/>
      <dgm:spPr/>
    </dgm:pt>
    <dgm:pt modelId="{A29F64E9-56D4-48E1-B45D-0767B368A36B}" type="pres">
      <dgm:prSet presAssocID="{C263368F-5692-474A-933E-D12E8900F345}" presName="Name111" presStyleLbl="parChTrans1D3" presStyleIdx="13" presStyleCnt="17"/>
      <dgm:spPr/>
    </dgm:pt>
    <dgm:pt modelId="{69698EE3-AFE4-4006-9DE4-51FCF4FCAAB6}" type="pres">
      <dgm:prSet presAssocID="{C482A76A-6C6D-4C53-AB1A-954224BE86BF}" presName="hierRoot3" presStyleCnt="0">
        <dgm:presLayoutVars>
          <dgm:hierBranch val="init"/>
        </dgm:presLayoutVars>
      </dgm:prSet>
      <dgm:spPr/>
    </dgm:pt>
    <dgm:pt modelId="{492FA8FE-1C3B-4208-8FAD-6706A91D3498}" type="pres">
      <dgm:prSet presAssocID="{C482A76A-6C6D-4C53-AB1A-954224BE86BF}" presName="rootComposite3" presStyleCnt="0"/>
      <dgm:spPr/>
    </dgm:pt>
    <dgm:pt modelId="{B0B71652-D417-4B39-8926-29C7507EDDDF}" type="pres">
      <dgm:prSet presAssocID="{C482A76A-6C6D-4C53-AB1A-954224BE86BF}" presName="rootText3" presStyleLbl="asst2" presStyleIdx="5" presStyleCnt="9" custScaleX="94902" custScaleY="187672" custLinFactY="62797" custLinFactNeighborX="-23035" custLinFactNeighborY="100000">
        <dgm:presLayoutVars>
          <dgm:chPref val="3"/>
        </dgm:presLayoutVars>
      </dgm:prSet>
      <dgm:spPr/>
    </dgm:pt>
    <dgm:pt modelId="{BE46691D-0E12-4E8D-AA21-5808DDE1DA36}" type="pres">
      <dgm:prSet presAssocID="{C482A76A-6C6D-4C53-AB1A-954224BE86BF}" presName="rootConnector3" presStyleLbl="asst2" presStyleIdx="5" presStyleCnt="9"/>
      <dgm:spPr/>
    </dgm:pt>
    <dgm:pt modelId="{6344A3B2-F4A6-4A70-9667-90E648E4754D}" type="pres">
      <dgm:prSet presAssocID="{C482A76A-6C6D-4C53-AB1A-954224BE86BF}" presName="hierChild6" presStyleCnt="0"/>
      <dgm:spPr/>
    </dgm:pt>
    <dgm:pt modelId="{092FE906-76DC-43F5-BC80-920B10CC1A31}" type="pres">
      <dgm:prSet presAssocID="{C482A76A-6C6D-4C53-AB1A-954224BE86BF}" presName="hierChild7" presStyleCnt="0"/>
      <dgm:spPr/>
    </dgm:pt>
    <dgm:pt modelId="{6B4A4395-F74A-476F-A46C-78057DB34BE5}" type="pres">
      <dgm:prSet presAssocID="{21689C3F-6CCC-4E59-B76A-06634ED8F228}" presName="Name111" presStyleLbl="parChTrans1D3" presStyleIdx="14" presStyleCnt="17"/>
      <dgm:spPr/>
    </dgm:pt>
    <dgm:pt modelId="{5AFE6B00-2CB1-4586-9B1C-76533C055C67}" type="pres">
      <dgm:prSet presAssocID="{8F3F50B9-37C4-42EA-8358-AEC4157E2AF8}" presName="hierRoot3" presStyleCnt="0">
        <dgm:presLayoutVars>
          <dgm:hierBranch val="init"/>
        </dgm:presLayoutVars>
      </dgm:prSet>
      <dgm:spPr/>
    </dgm:pt>
    <dgm:pt modelId="{4721D353-F3A9-46F0-BCFD-9A03B4B85140}" type="pres">
      <dgm:prSet presAssocID="{8F3F50B9-37C4-42EA-8358-AEC4157E2AF8}" presName="rootComposite3" presStyleCnt="0"/>
      <dgm:spPr/>
    </dgm:pt>
    <dgm:pt modelId="{0297E07F-E6E4-4FE6-BBA5-DC0CC00808D5}" type="pres">
      <dgm:prSet presAssocID="{8F3F50B9-37C4-42EA-8358-AEC4157E2AF8}" presName="rootText3" presStyleLbl="asst2" presStyleIdx="6" presStyleCnt="9" custScaleX="94902" custScaleY="187672" custLinFactY="63137" custLinFactNeighborX="-24004" custLinFactNeighborY="100000">
        <dgm:presLayoutVars>
          <dgm:chPref val="3"/>
        </dgm:presLayoutVars>
      </dgm:prSet>
      <dgm:spPr/>
    </dgm:pt>
    <dgm:pt modelId="{24740746-8B45-477C-93F8-D11AC2418482}" type="pres">
      <dgm:prSet presAssocID="{8F3F50B9-37C4-42EA-8358-AEC4157E2AF8}" presName="rootConnector3" presStyleLbl="asst2" presStyleIdx="6" presStyleCnt="9"/>
      <dgm:spPr/>
    </dgm:pt>
    <dgm:pt modelId="{AEA8C672-EB39-4BEC-9821-506CFDCA1D4F}" type="pres">
      <dgm:prSet presAssocID="{8F3F50B9-37C4-42EA-8358-AEC4157E2AF8}" presName="hierChild6" presStyleCnt="0"/>
      <dgm:spPr/>
    </dgm:pt>
    <dgm:pt modelId="{803A49B0-8E1E-4DD8-A1B1-664F260BE53D}" type="pres">
      <dgm:prSet presAssocID="{8F3F50B9-37C4-42EA-8358-AEC4157E2AF8}" presName="hierChild7" presStyleCnt="0"/>
      <dgm:spPr/>
    </dgm:pt>
    <dgm:pt modelId="{AA102BDE-8111-4E1A-B595-31AA990E77C0}" type="pres">
      <dgm:prSet presAssocID="{A78BB8C4-91F6-4281-891A-5E4792BAC6C6}" presName="Name37" presStyleLbl="parChTrans1D2" presStyleIdx="6" presStyleCnt="7"/>
      <dgm:spPr/>
    </dgm:pt>
    <dgm:pt modelId="{749294D3-585C-4B4F-969C-71DA7BCCDB93}" type="pres">
      <dgm:prSet presAssocID="{7D5AACEE-FB7C-41F0-B700-2BEA45C6465D}" presName="hierRoot2" presStyleCnt="0">
        <dgm:presLayoutVars>
          <dgm:hierBranch val="init"/>
        </dgm:presLayoutVars>
      </dgm:prSet>
      <dgm:spPr/>
    </dgm:pt>
    <dgm:pt modelId="{C3BABD2E-F81B-4AB3-A309-C061118052C2}" type="pres">
      <dgm:prSet presAssocID="{7D5AACEE-FB7C-41F0-B700-2BEA45C6465D}" presName="rootComposite" presStyleCnt="0"/>
      <dgm:spPr/>
    </dgm:pt>
    <dgm:pt modelId="{ADCC68CE-4990-407B-B82B-33554245CA83}" type="pres">
      <dgm:prSet presAssocID="{7D5AACEE-FB7C-41F0-B700-2BEA45C6465D}" presName="rootText" presStyleLbl="node2" presStyleIdx="6" presStyleCnt="7" custScaleX="141657" custScaleY="209782" custLinFactNeighborX="-12897" custLinFactNeighborY="-13765">
        <dgm:presLayoutVars>
          <dgm:chPref val="3"/>
        </dgm:presLayoutVars>
      </dgm:prSet>
      <dgm:spPr/>
    </dgm:pt>
    <dgm:pt modelId="{7A9B6E0B-8360-4998-9411-5CED131D7CC5}" type="pres">
      <dgm:prSet presAssocID="{7D5AACEE-FB7C-41F0-B700-2BEA45C6465D}" presName="rootConnector" presStyleLbl="node2" presStyleIdx="6" presStyleCnt="7"/>
      <dgm:spPr/>
    </dgm:pt>
    <dgm:pt modelId="{F2747D76-DFD3-493F-81F8-83FDD80581AE}" type="pres">
      <dgm:prSet presAssocID="{7D5AACEE-FB7C-41F0-B700-2BEA45C6465D}" presName="hierChild4" presStyleCnt="0"/>
      <dgm:spPr/>
    </dgm:pt>
    <dgm:pt modelId="{A32ED941-9CDD-4C49-9410-1C5698676052}" type="pres">
      <dgm:prSet presAssocID="{7D5AACEE-FB7C-41F0-B700-2BEA45C6465D}" presName="hierChild5" presStyleCnt="0"/>
      <dgm:spPr/>
    </dgm:pt>
    <dgm:pt modelId="{E2DD938D-BE61-4C37-A14B-5EE1F1104841}" type="pres">
      <dgm:prSet presAssocID="{6217368F-580F-4708-ADFE-2947CD8D7EA4}" presName="Name111" presStyleLbl="parChTrans1D3" presStyleIdx="15" presStyleCnt="17"/>
      <dgm:spPr/>
    </dgm:pt>
    <dgm:pt modelId="{05795BFE-E9E7-40C6-9C4B-B384318D0645}" type="pres">
      <dgm:prSet presAssocID="{07B91D9F-5D86-4684-8111-0C8D049E94D0}" presName="hierRoot3" presStyleCnt="0">
        <dgm:presLayoutVars>
          <dgm:hierBranch val="init"/>
        </dgm:presLayoutVars>
      </dgm:prSet>
      <dgm:spPr/>
    </dgm:pt>
    <dgm:pt modelId="{91ACB31F-6D41-4B04-BFB7-062AA187BE1E}" type="pres">
      <dgm:prSet presAssocID="{07B91D9F-5D86-4684-8111-0C8D049E94D0}" presName="rootComposite3" presStyleCnt="0"/>
      <dgm:spPr/>
    </dgm:pt>
    <dgm:pt modelId="{B12D8A1A-16D4-43E3-9B1E-FDB641DABC70}" type="pres">
      <dgm:prSet presAssocID="{07B91D9F-5D86-4684-8111-0C8D049E94D0}" presName="rootText3" presStyleLbl="asst2" presStyleIdx="7" presStyleCnt="9" custScaleX="94777" custScaleY="173970" custLinFactX="13511" custLinFactY="63049" custLinFactNeighborX="100000" custLinFactNeighborY="100000">
        <dgm:presLayoutVars>
          <dgm:chPref val="3"/>
        </dgm:presLayoutVars>
      </dgm:prSet>
      <dgm:spPr>
        <a:xfrm>
          <a:off x="11268263" y="3605000"/>
          <a:ext cx="687572" cy="631043"/>
        </a:xfrm>
        <a:prstGeom prst="rect">
          <a:avLst/>
        </a:prstGeom>
      </dgm:spPr>
    </dgm:pt>
    <dgm:pt modelId="{EF8388D9-A0BD-476E-B787-DEC3E750A279}" type="pres">
      <dgm:prSet presAssocID="{07B91D9F-5D86-4684-8111-0C8D049E94D0}" presName="rootConnector3" presStyleLbl="asst2" presStyleIdx="7" presStyleCnt="9"/>
      <dgm:spPr/>
    </dgm:pt>
    <dgm:pt modelId="{A035A678-BFD5-4AE9-BD8D-C1A9D0FD374C}" type="pres">
      <dgm:prSet presAssocID="{07B91D9F-5D86-4684-8111-0C8D049E94D0}" presName="hierChild6" presStyleCnt="0"/>
      <dgm:spPr/>
    </dgm:pt>
    <dgm:pt modelId="{68164A26-A7E3-4E13-9AF9-96AD268C70B2}" type="pres">
      <dgm:prSet presAssocID="{07B91D9F-5D86-4684-8111-0C8D049E94D0}" presName="hierChild7" presStyleCnt="0"/>
      <dgm:spPr/>
    </dgm:pt>
    <dgm:pt modelId="{DF095356-8FD5-4CF9-AD53-34627F5EA4EE}" type="pres">
      <dgm:prSet presAssocID="{83A94C31-192F-4363-BF44-A26B80312B5D}" presName="Name111" presStyleLbl="parChTrans1D3" presStyleIdx="16" presStyleCnt="17"/>
      <dgm:spPr/>
    </dgm:pt>
    <dgm:pt modelId="{AF4C687F-ED9E-4914-94E2-8D345F11A568}" type="pres">
      <dgm:prSet presAssocID="{A8B0D384-8558-40A5-BAC2-ACF4CE0CA830}" presName="hierRoot3" presStyleCnt="0">
        <dgm:presLayoutVars>
          <dgm:hierBranch val="init"/>
        </dgm:presLayoutVars>
      </dgm:prSet>
      <dgm:spPr/>
    </dgm:pt>
    <dgm:pt modelId="{BC6500C4-09B6-4B24-8FEA-8F50FD870790}" type="pres">
      <dgm:prSet presAssocID="{A8B0D384-8558-40A5-BAC2-ACF4CE0CA830}" presName="rootComposite3" presStyleCnt="0"/>
      <dgm:spPr/>
    </dgm:pt>
    <dgm:pt modelId="{89042E41-6C64-4664-9969-1787091C1D21}" type="pres">
      <dgm:prSet presAssocID="{A8B0D384-8558-40A5-BAC2-ACF4CE0CA830}" presName="rootText3" presStyleLbl="asst2" presStyleIdx="8" presStyleCnt="9" custScaleX="100835" custScaleY="176016" custLinFactX="-38992" custLinFactNeighborX="-100000" custLinFactNeighborY="-5010">
        <dgm:presLayoutVars>
          <dgm:chPref val="3"/>
        </dgm:presLayoutVars>
      </dgm:prSet>
      <dgm:spPr>
        <a:xfrm>
          <a:off x="10283254" y="3569173"/>
          <a:ext cx="685797" cy="677510"/>
        </a:xfrm>
        <a:prstGeom prst="rect">
          <a:avLst/>
        </a:prstGeom>
      </dgm:spPr>
    </dgm:pt>
    <dgm:pt modelId="{6D45D1F5-DF94-4341-B1A7-67860100A99A}" type="pres">
      <dgm:prSet presAssocID="{A8B0D384-8558-40A5-BAC2-ACF4CE0CA830}" presName="rootConnector3" presStyleLbl="asst2" presStyleIdx="8" presStyleCnt="9"/>
      <dgm:spPr/>
    </dgm:pt>
    <dgm:pt modelId="{F7D58E2D-2053-4831-8B57-7232E3359546}" type="pres">
      <dgm:prSet presAssocID="{A8B0D384-8558-40A5-BAC2-ACF4CE0CA830}" presName="hierChild6" presStyleCnt="0"/>
      <dgm:spPr/>
    </dgm:pt>
    <dgm:pt modelId="{450A1B6A-D1EB-4512-BD6E-8939D9A4C260}" type="pres">
      <dgm:prSet presAssocID="{A8B0D384-8558-40A5-BAC2-ACF4CE0CA830}" presName="hierChild7" presStyleCnt="0"/>
      <dgm:spPr/>
    </dgm:pt>
    <dgm:pt modelId="{A01BFD0A-DF36-4B6D-9BA0-3A05A52ED7B1}" type="pres">
      <dgm:prSet presAssocID="{735E0ECF-1473-4459-9782-B3BFD89D844B}" presName="hierChild3" presStyleCnt="0"/>
      <dgm:spPr/>
    </dgm:pt>
  </dgm:ptLst>
  <dgm:cxnLst>
    <dgm:cxn modelId="{744BFB04-2D6C-42BD-A772-A45050561625}" type="presOf" srcId="{07B91D9F-5D86-4684-8111-0C8D049E94D0}" destId="{B12D8A1A-16D4-43E3-9B1E-FDB641DABC70}" srcOrd="0" destOrd="0" presId="urn:microsoft.com/office/officeart/2005/8/layout/orgChart1"/>
    <dgm:cxn modelId="{9CF64F0D-B157-4C61-BE51-16465F627BE7}" type="presOf" srcId="{8F3F50B9-37C4-42EA-8358-AEC4157E2AF8}" destId="{24740746-8B45-477C-93F8-D11AC2418482}" srcOrd="1" destOrd="0" presId="urn:microsoft.com/office/officeart/2005/8/layout/orgChart1"/>
    <dgm:cxn modelId="{3123AF0E-4257-4F53-8B08-66D5A8532F05}" type="presOf" srcId="{7D5AACEE-FB7C-41F0-B700-2BEA45C6465D}" destId="{ADCC68CE-4990-407B-B82B-33554245CA83}" srcOrd="0" destOrd="0" presId="urn:microsoft.com/office/officeart/2005/8/layout/orgChart1"/>
    <dgm:cxn modelId="{D9E37111-B8E5-4806-AAD1-7B9FA8B19E12}" srcId="{AEB5C877-C77B-47BD-825A-482B3EB5DF5F}" destId="{735E0ECF-1473-4459-9782-B3BFD89D844B}" srcOrd="0" destOrd="0" parTransId="{90F12E4B-19E3-4560-90AB-454891BF7004}" sibTransId="{ACF038FB-1CE1-4A98-8F2E-9A6C83F1B13E}"/>
    <dgm:cxn modelId="{B50B9A13-FEBB-4C5E-919C-0FC581AD4C29}" type="presOf" srcId="{7BD08634-225A-4977-823F-7B46D43F9618}" destId="{7CF936D8-A8D3-49F7-978F-412495FF0F34}" srcOrd="1" destOrd="0" presId="urn:microsoft.com/office/officeart/2005/8/layout/orgChart1"/>
    <dgm:cxn modelId="{586BE513-52B5-48CB-B261-6FE5A49CBFFA}" type="presOf" srcId="{07B91D9F-5D86-4684-8111-0C8D049E94D0}" destId="{EF8388D9-A0BD-476E-B787-DEC3E750A279}" srcOrd="1" destOrd="0" presId="urn:microsoft.com/office/officeart/2005/8/layout/orgChart1"/>
    <dgm:cxn modelId="{7F766317-F118-4760-B678-11456BFB017A}" type="presOf" srcId="{7E9A69E0-D2E0-4016-9D17-91D1DF9FC6D8}" destId="{6CAAA1BE-7B87-4DED-9787-733449A80F28}" srcOrd="0" destOrd="0" presId="urn:microsoft.com/office/officeart/2005/8/layout/orgChart1"/>
    <dgm:cxn modelId="{D1FE3D19-7169-46CA-A59C-3C9F842EC4D2}" type="presOf" srcId="{7E9A69E0-D2E0-4016-9D17-91D1DF9FC6D8}" destId="{B028789A-6B95-4740-BB5B-7D4F9F092D34}" srcOrd="1" destOrd="0" presId="urn:microsoft.com/office/officeart/2005/8/layout/orgChart1"/>
    <dgm:cxn modelId="{8C3F261D-6159-4A77-AC7D-738D6F1F4343}" type="presOf" srcId="{7D5AACEE-FB7C-41F0-B700-2BEA45C6465D}" destId="{7A9B6E0B-8360-4998-9411-5CED131D7CC5}" srcOrd="1" destOrd="0" presId="urn:microsoft.com/office/officeart/2005/8/layout/orgChart1"/>
    <dgm:cxn modelId="{DDE97A23-B107-4301-843B-9FAB7A3824CE}" srcId="{735E0ECF-1473-4459-9782-B3BFD89D844B}" destId="{25AF2A20-742B-4B54-82EE-1A36C3C1A1C1}" srcOrd="2" destOrd="0" parTransId="{DD5605C9-86D4-46AB-815E-97791D76E890}" sibTransId="{DB2CF243-4E5E-43F5-BC45-86118435809D}"/>
    <dgm:cxn modelId="{86039B26-FA64-4AF2-9F6B-4BDA2769E943}" type="presOf" srcId="{A6B55F34-AD4F-48E5-B1C5-98E9B9FBFD4B}" destId="{3328B508-85C9-40F6-9185-8180C7701126}" srcOrd="0" destOrd="0" presId="urn:microsoft.com/office/officeart/2005/8/layout/orgChart1"/>
    <dgm:cxn modelId="{33F1A128-073C-419E-89F6-0AC8F9B33F6A}" type="presOf" srcId="{7BD08634-225A-4977-823F-7B46D43F9618}" destId="{114A1E9B-4244-47DD-A8EB-7C1B5D345B1B}" srcOrd="0" destOrd="0" presId="urn:microsoft.com/office/officeart/2005/8/layout/orgChart1"/>
    <dgm:cxn modelId="{61437029-E733-4371-ACE3-7807E623562C}" type="presOf" srcId="{A78BB8C4-91F6-4281-891A-5E4792BAC6C6}" destId="{AA102BDE-8111-4E1A-B595-31AA990E77C0}" srcOrd="0" destOrd="0" presId="urn:microsoft.com/office/officeart/2005/8/layout/orgChart1"/>
    <dgm:cxn modelId="{BD65AD2A-2B5D-4E75-A835-427CC1A2FCB5}" srcId="{7D5AACEE-FB7C-41F0-B700-2BEA45C6465D}" destId="{07B91D9F-5D86-4684-8111-0C8D049E94D0}" srcOrd="0" destOrd="0" parTransId="{6217368F-580F-4708-ADFE-2947CD8D7EA4}" sibTransId="{29055379-ABD5-4682-A27C-BFF76BC3F451}"/>
    <dgm:cxn modelId="{86782B2C-514A-48FE-A3E2-90B82A68E940}" type="presOf" srcId="{7CCC1F36-2DB0-4F7B-B68E-5AD0930837A4}" destId="{24BC7984-6149-4663-938B-04A9C51DF1FB}" srcOrd="0" destOrd="0" presId="urn:microsoft.com/office/officeart/2005/8/layout/orgChart1"/>
    <dgm:cxn modelId="{5068682D-2D61-481B-97CE-E40302B2D632}" srcId="{5D030A46-7792-4815-B57B-046A07F0140A}" destId="{5DD04D94-63F5-46D2-836B-799343460FE1}" srcOrd="2" destOrd="0" parTransId="{9389D54E-AB64-4042-8F70-8376E8A9A5DE}" sibTransId="{C4AB6E49-0375-49D7-B931-54BA7A1B64C7}"/>
    <dgm:cxn modelId="{39718F2F-F1BB-4543-94B9-E375F01D1237}" srcId="{735E0ECF-1473-4459-9782-B3BFD89D844B}" destId="{5D030A46-7792-4815-B57B-046A07F0140A}" srcOrd="0" destOrd="0" parTransId="{93793C77-22A1-4452-AA5B-CD75C3A2088D}" sibTransId="{23F7F991-0E15-4B2C-9412-38FC07AC3355}"/>
    <dgm:cxn modelId="{034E1431-89A9-4532-8675-943F31DDF8EF}" type="presOf" srcId="{C482A76A-6C6D-4C53-AB1A-954224BE86BF}" destId="{B0B71652-D417-4B39-8926-29C7507EDDDF}" srcOrd="0" destOrd="0" presId="urn:microsoft.com/office/officeart/2005/8/layout/orgChart1"/>
    <dgm:cxn modelId="{BF796633-D964-451F-B9F3-256C8D0C471D}" type="presOf" srcId="{DD5605C9-86D4-46AB-815E-97791D76E890}" destId="{04B36B14-FDED-4614-BB74-97EE5BB8F52D}" srcOrd="0" destOrd="0" presId="urn:microsoft.com/office/officeart/2005/8/layout/orgChart1"/>
    <dgm:cxn modelId="{012A7134-BCD9-46AA-BDFD-F50EA24BD6A5}" type="presOf" srcId="{6217368F-580F-4708-ADFE-2947CD8D7EA4}" destId="{E2DD938D-BE61-4C37-A14B-5EE1F1104841}" srcOrd="0" destOrd="0" presId="urn:microsoft.com/office/officeart/2005/8/layout/orgChart1"/>
    <dgm:cxn modelId="{7EF0843E-A080-43B0-8B93-EEBDB762DB4E}" type="presOf" srcId="{D9AFF782-FE71-42BB-99D0-C8D65EEC9AB8}" destId="{93A91F1D-7D22-4985-85A0-25585DC5988D}" srcOrd="0" destOrd="0" presId="urn:microsoft.com/office/officeart/2005/8/layout/orgChart1"/>
    <dgm:cxn modelId="{15B77040-58A9-4A39-B3BB-65A566458255}" type="presOf" srcId="{9A6C21B6-6027-4F30-890E-EA9CFD6B1099}" destId="{5A3ED7B4-0FA6-4985-8E94-D5A1D2C89000}" srcOrd="0" destOrd="0" presId="urn:microsoft.com/office/officeart/2005/8/layout/orgChart1"/>
    <dgm:cxn modelId="{301B035B-BF9A-4DCB-BCA6-87E5F1FF33FF}" srcId="{735E0ECF-1473-4459-9782-B3BFD89D844B}" destId="{7E9A69E0-D2E0-4016-9D17-91D1DF9FC6D8}" srcOrd="4" destOrd="0" parTransId="{C17649F9-BFF1-4BE6-B8B8-303453278CF0}" sibTransId="{DEEE58CE-F01F-4406-8792-7A171FE59AE6}"/>
    <dgm:cxn modelId="{4DF8D15C-1EB5-476D-AB0B-00DE2709AF95}" type="presOf" srcId="{D542B1DD-46E2-4474-B7BF-3878A9A56C71}" destId="{08BECAE6-284F-47AC-9E23-23A5AEFDA4BF}" srcOrd="0" destOrd="0" presId="urn:microsoft.com/office/officeart/2005/8/layout/orgChart1"/>
    <dgm:cxn modelId="{4EF6075D-8DBC-4546-882C-EBA638CF7350}" type="presOf" srcId="{7EB381B7-691F-4C6F-8316-D1C35BD39375}" destId="{F85C2A93-DDBC-49AC-A446-5B19392565FB}" srcOrd="0" destOrd="0" presId="urn:microsoft.com/office/officeart/2005/8/layout/orgChart1"/>
    <dgm:cxn modelId="{03318E64-D19E-47DD-A384-58C625431E81}" srcId="{C4171510-A219-4D73-ABD0-9340201AB08B}" destId="{9A6C21B6-6027-4F30-890E-EA9CFD6B1099}" srcOrd="1" destOrd="0" parTransId="{ABFB1316-46B0-4304-BDEC-33A2E9D6B926}" sibTransId="{B9684586-4190-47F8-AC6A-2D4E3CFE4138}"/>
    <dgm:cxn modelId="{4EF13E66-5137-4973-945B-7F351A5B460B}" type="presOf" srcId="{868AF991-4EBE-4263-87F3-E67A2033B966}" destId="{900AFB7F-2B1C-4F2F-90FD-534B3C5D185A}" srcOrd="0" destOrd="0" presId="urn:microsoft.com/office/officeart/2005/8/layout/orgChart1"/>
    <dgm:cxn modelId="{CB9A6746-D56F-4177-B829-200840CA2A2B}" srcId="{7D5AACEE-FB7C-41F0-B700-2BEA45C6465D}" destId="{A8B0D384-8558-40A5-BAC2-ACF4CE0CA830}" srcOrd="1" destOrd="0" parTransId="{83A94C31-192F-4363-BF44-A26B80312B5D}" sibTransId="{E645B646-BCDC-47BB-AF9F-EB47A440F12D}"/>
    <dgm:cxn modelId="{31C90A48-C72C-491D-A92D-3A474CB7D479}" type="presOf" srcId="{5D030A46-7792-4815-B57B-046A07F0140A}" destId="{2FD465CE-D641-4F07-9394-155CB7FBF3F3}" srcOrd="1" destOrd="0" presId="urn:microsoft.com/office/officeart/2005/8/layout/orgChart1"/>
    <dgm:cxn modelId="{5F892C48-2FC7-4672-A989-C98D0977EA8E}" type="presOf" srcId="{8563E5FE-E641-4FF9-99CC-FF9B214DF7CC}" destId="{7EF34FFA-702D-4DB0-9B61-4E21BA57A82D}" srcOrd="0" destOrd="0" presId="urn:microsoft.com/office/officeart/2005/8/layout/orgChart1"/>
    <dgm:cxn modelId="{8033206E-48F4-4047-940D-13BF453CF80C}" srcId="{735E0ECF-1473-4459-9782-B3BFD89D844B}" destId="{8410ED97-D266-4605-BA7F-9D2AE9B10EE6}" srcOrd="5" destOrd="0" parTransId="{A6B55F34-AD4F-48E5-B1C5-98E9B9FBFD4B}" sibTransId="{9EB54139-1CBC-4C01-9970-6B14F451C07A}"/>
    <dgm:cxn modelId="{B71C8E4E-6CE8-4F92-BEDB-7449C6ACD439}" type="presOf" srcId="{25183AF4-B7D2-4086-864B-599E80FCEE7C}" destId="{00123271-9238-4D01-BFEA-7C510FB4B13F}" srcOrd="0" destOrd="0" presId="urn:microsoft.com/office/officeart/2005/8/layout/orgChart1"/>
    <dgm:cxn modelId="{5DCEFA4E-474D-4641-B9A2-5EFB6814B5B9}" srcId="{D9AFF782-FE71-42BB-99D0-C8D65EEC9AB8}" destId="{C57E2B08-C14F-4730-8F05-46A4E50E07A4}" srcOrd="0" destOrd="0" parTransId="{C578214E-0A14-4CEF-9DE7-9D43947495E8}" sibTransId="{7BD763A0-B74E-43A3-82EC-2BE5ED2607C4}"/>
    <dgm:cxn modelId="{3E661671-69AD-4DB4-8D85-350F2C0E59CA}" type="presOf" srcId="{DCD74B8A-E4FC-46DF-9BB7-B7BDB095BCDF}" destId="{807C63BC-444B-43F4-BA09-4D600060F48A}" srcOrd="0" destOrd="0" presId="urn:microsoft.com/office/officeart/2005/8/layout/orgChart1"/>
    <dgm:cxn modelId="{9304FF72-C18F-4D34-9CC8-BE6BC4853D42}" type="presOf" srcId="{9A6C21B6-6027-4F30-890E-EA9CFD6B1099}" destId="{8E05BBDF-279D-4BA6-9EBE-6CDC6A0882C4}" srcOrd="1" destOrd="0" presId="urn:microsoft.com/office/officeart/2005/8/layout/orgChart1"/>
    <dgm:cxn modelId="{DC9A0654-6458-41BB-A10A-48DDD41F70FE}" srcId="{5D030A46-7792-4815-B57B-046A07F0140A}" destId="{7EB381B7-691F-4C6F-8316-D1C35BD39375}" srcOrd="1" destOrd="0" parTransId="{7C0EEABC-8DF5-408A-9894-C24E9F6E7191}" sibTransId="{5240FCA0-DA3D-4399-A04F-2260E3EAAD2A}"/>
    <dgm:cxn modelId="{2F1D6354-7B09-4794-A04B-8A26BBBD3611}" type="presOf" srcId="{D9AFF782-FE71-42BB-99D0-C8D65EEC9AB8}" destId="{C6591505-D2DB-4716-ADD2-239A1C546601}" srcOrd="1" destOrd="0" presId="urn:microsoft.com/office/officeart/2005/8/layout/orgChart1"/>
    <dgm:cxn modelId="{05AD7474-C0BB-4F93-ADE9-F30E56F3E2C5}" type="presOf" srcId="{EB027484-7CEA-4CBE-BF58-C09DD2571399}" destId="{857E5E5B-C52C-4438-9D5D-D1C33F85DC46}" srcOrd="0" destOrd="0" presId="urn:microsoft.com/office/officeart/2005/8/layout/orgChart1"/>
    <dgm:cxn modelId="{AAEC8174-EFA4-45DE-8C80-FE9901949D2C}" type="presOf" srcId="{5D030A46-7792-4815-B57B-046A07F0140A}" destId="{AC5FF851-1189-4F95-8351-A97A476B2246}" srcOrd="0" destOrd="0" presId="urn:microsoft.com/office/officeart/2005/8/layout/orgChart1"/>
    <dgm:cxn modelId="{87CB9977-5AA0-485C-884C-7407BC7DD68C}" type="presOf" srcId="{5DD04D94-63F5-46D2-836B-799343460FE1}" destId="{2CC47D3C-9AD8-4160-81D7-015FC3BB09CF}" srcOrd="0" destOrd="0" presId="urn:microsoft.com/office/officeart/2005/8/layout/orgChart1"/>
    <dgm:cxn modelId="{5E950B78-B5DC-4A50-BE49-3A7505E00651}" type="presOf" srcId="{8410ED97-D266-4605-BA7F-9D2AE9B10EE6}" destId="{D61AA0A1-C51C-464A-B166-25EF83B252CF}" srcOrd="1" destOrd="0" presId="urn:microsoft.com/office/officeart/2005/8/layout/orgChart1"/>
    <dgm:cxn modelId="{2264C879-71AC-4C9C-B27E-9FC06F2007E1}" type="presOf" srcId="{ABFB1316-46B0-4304-BDEC-33A2E9D6B926}" destId="{C25EAEC4-21DF-4A89-BE31-5C6BBEF765AB}" srcOrd="0" destOrd="0" presId="urn:microsoft.com/office/officeart/2005/8/layout/orgChart1"/>
    <dgm:cxn modelId="{62F4935A-C4DF-481A-98C1-C47F933BB536}" srcId="{8410ED97-D266-4605-BA7F-9D2AE9B10EE6}" destId="{C482A76A-6C6D-4C53-AB1A-954224BE86BF}" srcOrd="2" destOrd="0" parTransId="{C263368F-5692-474A-933E-D12E8900F345}" sibTransId="{0C17BF83-2A1D-412E-855B-422510A7F4CB}"/>
    <dgm:cxn modelId="{60894A7D-63EB-4E07-BBDF-1037CAF1594E}" type="presOf" srcId="{C263368F-5692-474A-933E-D12E8900F345}" destId="{A29F64E9-56D4-48E1-B45D-0767B368A36B}" srcOrd="0" destOrd="0" presId="urn:microsoft.com/office/officeart/2005/8/layout/orgChart1"/>
    <dgm:cxn modelId="{7B87357F-8556-4BE8-A9A6-E1F81A678338}" srcId="{8410ED97-D266-4605-BA7F-9D2AE9B10EE6}" destId="{390A138D-0D14-4672-A950-BB8F9BA5456F}" srcOrd="0" destOrd="0" parTransId="{21E8E939-A3EA-468E-BB6F-0D06B0D9E286}" sibTransId="{5D7CEADF-0292-4D55-BA74-15B4C895306E}"/>
    <dgm:cxn modelId="{EE93417F-1BB7-4976-A89A-CA6628245490}" type="presOf" srcId="{C482A76A-6C6D-4C53-AB1A-954224BE86BF}" destId="{BE46691D-0E12-4E8D-AA21-5808DDE1DA36}" srcOrd="1" destOrd="0" presId="urn:microsoft.com/office/officeart/2005/8/layout/orgChart1"/>
    <dgm:cxn modelId="{2C739681-EB3E-427D-B24E-4803AE0CCCCB}" type="presOf" srcId="{8F3F50B9-37C4-42EA-8358-AEC4157E2AF8}" destId="{0297E07F-E6E4-4FE6-BBA5-DC0CC00808D5}" srcOrd="0" destOrd="0" presId="urn:microsoft.com/office/officeart/2005/8/layout/orgChart1"/>
    <dgm:cxn modelId="{0ECC4382-2D75-451B-B843-EB1DA230496D}" type="presOf" srcId="{C4171510-A219-4D73-ABD0-9340201AB08B}" destId="{71D9930B-3E8E-46AF-9F9D-50C9E28A14EA}" srcOrd="1" destOrd="0" presId="urn:microsoft.com/office/officeart/2005/8/layout/orgChart1"/>
    <dgm:cxn modelId="{C058F985-07F2-45CE-95DD-FF56667E4652}" type="presOf" srcId="{C578214E-0A14-4CEF-9DE7-9D43947495E8}" destId="{624BD74D-0A26-4504-89C2-C0CE0AB010B7}" srcOrd="0" destOrd="0" presId="urn:microsoft.com/office/officeart/2005/8/layout/orgChart1"/>
    <dgm:cxn modelId="{FAEA808A-9F0F-4FB4-9014-70066912FB1E}" type="presOf" srcId="{A8B0D384-8558-40A5-BAC2-ACF4CE0CA830}" destId="{89042E41-6C64-4664-9969-1787091C1D21}" srcOrd="0" destOrd="0" presId="urn:microsoft.com/office/officeart/2005/8/layout/orgChart1"/>
    <dgm:cxn modelId="{F5C8658B-C641-4D5B-9611-EA2FB5D34D15}" type="presOf" srcId="{735E0ECF-1473-4459-9782-B3BFD89D844B}" destId="{608CB659-20FB-4FD5-BD59-4EDC1CFD706A}" srcOrd="0" destOrd="0" presId="urn:microsoft.com/office/officeart/2005/8/layout/orgChart1"/>
    <dgm:cxn modelId="{5DE9968B-CBA3-4207-95E2-F8184BAEC330}" srcId="{5D030A46-7792-4815-B57B-046A07F0140A}" destId="{EB027484-7CEA-4CBE-BF58-C09DD2571399}" srcOrd="0" destOrd="0" parTransId="{9F1142D6-E2EB-4B62-9657-E1BFD7D3F930}" sibTransId="{7E2DFD20-B35C-4A34-A97B-6B21C5343AD5}"/>
    <dgm:cxn modelId="{2AAE1897-2249-41CF-A3B6-5B3A8035633F}" type="presOf" srcId="{A8B0D384-8558-40A5-BAC2-ACF4CE0CA830}" destId="{6D45D1F5-DF94-4341-B1A7-67860100A99A}" srcOrd="1" destOrd="0" presId="urn:microsoft.com/office/officeart/2005/8/layout/orgChart1"/>
    <dgm:cxn modelId="{180A7198-8CF4-4565-9B33-A7FE4FD6A189}" srcId="{735E0ECF-1473-4459-9782-B3BFD89D844B}" destId="{D9AFF782-FE71-42BB-99D0-C8D65EEC9AB8}" srcOrd="3" destOrd="0" parTransId="{CC20C97E-EFDD-4A67-821C-3B85E1B7A98A}" sibTransId="{9D23B64F-CF42-49F8-8317-84814164169C}"/>
    <dgm:cxn modelId="{B314D99C-F112-4800-8D1B-74E020C5880D}" type="presOf" srcId="{9F575CF3-260F-414F-A0FA-8DEC83767B2D}" destId="{957E809D-C625-45E2-A4FE-FD099A104FCD}" srcOrd="0" destOrd="0" presId="urn:microsoft.com/office/officeart/2005/8/layout/orgChart1"/>
    <dgm:cxn modelId="{0A40969E-F1AD-4C22-8FFC-8827B92D3F69}" type="presOf" srcId="{70AF50A3-7956-46A4-B3EC-CC9D98A8980A}" destId="{9AA3ED86-7676-46C9-ACE6-D8F3BA630E14}" srcOrd="1" destOrd="0" presId="urn:microsoft.com/office/officeart/2005/8/layout/orgChart1"/>
    <dgm:cxn modelId="{D1662BA2-0044-4920-AE9A-ECC67C36B483}" type="presOf" srcId="{93793C77-22A1-4452-AA5B-CD75C3A2088D}" destId="{AA2C4414-7EF3-4BAE-A19E-E52D628B3FAE}" srcOrd="0" destOrd="0" presId="urn:microsoft.com/office/officeart/2005/8/layout/orgChart1"/>
    <dgm:cxn modelId="{DC8F79A4-8FDC-4C89-A8EA-1E4F0E9FF73D}" srcId="{8410ED97-D266-4605-BA7F-9D2AE9B10EE6}" destId="{8563E5FE-E641-4FF9-99CC-FF9B214DF7CC}" srcOrd="1" destOrd="0" parTransId="{A2E77860-7E2A-433A-966B-68E3B0ED292E}" sibTransId="{8389386B-B42B-4E74-9E5E-7F48CC27600C}"/>
    <dgm:cxn modelId="{5F2764A6-2DDF-44A1-B429-49A862EA8CB1}" srcId="{7E9A69E0-D2E0-4016-9D17-91D1DF9FC6D8}" destId="{70AF50A3-7956-46A4-B3EC-CC9D98A8980A}" srcOrd="1" destOrd="0" parTransId="{DCD74B8A-E4FC-46DF-9BB7-B7BDB095BCDF}" sibTransId="{B685AE36-C273-40B0-A812-91EC1BD6E2E0}"/>
    <dgm:cxn modelId="{52C98CA6-E291-47CB-B188-36EE6E021BE4}" type="presOf" srcId="{21689C3F-6CCC-4E59-B76A-06634ED8F228}" destId="{6B4A4395-F74A-476F-A46C-78057DB34BE5}" srcOrd="0" destOrd="0" presId="urn:microsoft.com/office/officeart/2005/8/layout/orgChart1"/>
    <dgm:cxn modelId="{48C00EA7-7229-4A80-8979-32E97270BABA}" type="presOf" srcId="{715F685F-1B97-4735-9D7D-F06EC3224C5B}" destId="{77B0771F-7A97-4F55-B5C4-7CE3A24EA5FB}" srcOrd="0" destOrd="0" presId="urn:microsoft.com/office/officeart/2005/8/layout/orgChart1"/>
    <dgm:cxn modelId="{323899A7-DC80-4FAC-8C77-2B5F7104424F}" srcId="{25AF2A20-742B-4B54-82EE-1A36C3C1A1C1}" destId="{715F685F-1B97-4735-9D7D-F06EC3224C5B}" srcOrd="0" destOrd="0" parTransId="{FD10F90F-B12D-4036-82A3-E1375D5847BB}" sibTransId="{E45E934C-FA03-43C6-B0C5-1E366C0B57C1}"/>
    <dgm:cxn modelId="{0C7711AA-3347-45A2-BD1F-7A8F83B66F66}" srcId="{735E0ECF-1473-4459-9782-B3BFD89D844B}" destId="{C4171510-A219-4D73-ABD0-9340201AB08B}" srcOrd="1" destOrd="0" parTransId="{C596D3E0-CF1C-4186-873C-266C0BDDA405}" sibTransId="{55F7E4BD-CE46-4672-9F79-FC039A5ADB47}"/>
    <dgm:cxn modelId="{C5F9A2B4-994F-4B02-89C5-4AA49B6FED21}" type="presOf" srcId="{25AF2A20-742B-4B54-82EE-1A36C3C1A1C1}" destId="{6F5EABE9-ADCF-4968-81B3-04689CB922B9}" srcOrd="0" destOrd="0" presId="urn:microsoft.com/office/officeart/2005/8/layout/orgChart1"/>
    <dgm:cxn modelId="{AAB8B7B7-8B03-4579-878C-656416DE8E07}" srcId="{D9AFF782-FE71-42BB-99D0-C8D65EEC9AB8}" destId="{7CCC1F36-2DB0-4F7B-B68E-5AD0930837A4}" srcOrd="1" destOrd="0" parTransId="{35915763-0031-42C8-BC36-F3886FBA273E}" sibTransId="{A7B49983-6680-407F-B5BF-DF132722C100}"/>
    <dgm:cxn modelId="{752C08B8-5463-40BF-8BCD-09B8BA998B09}" srcId="{C4171510-A219-4D73-ABD0-9340201AB08B}" destId="{D542B1DD-46E2-4474-B7BF-3878A9A56C71}" srcOrd="0" destOrd="0" parTransId="{25183AF4-B7D2-4086-864B-599E80FCEE7C}" sibTransId="{7530ACF2-6059-4DAC-8C8B-E6B20A136660}"/>
    <dgm:cxn modelId="{010821BD-9140-496C-B874-2845674FAE91}" srcId="{25AF2A20-742B-4B54-82EE-1A36C3C1A1C1}" destId="{111E18F4-EF8B-4472-A2D1-E52F7FB4758B}" srcOrd="1" destOrd="0" parTransId="{868AF991-4EBE-4263-87F3-E67A2033B966}" sibTransId="{5A391C39-3151-4BBC-A20E-ACFFA20617ED}"/>
    <dgm:cxn modelId="{BEF6FDBD-B760-4A25-992B-543615E8DFC2}" type="presOf" srcId="{C4171510-A219-4D73-ABD0-9340201AB08B}" destId="{43FE5B09-28AC-4B39-BFE9-1C78BB5E9846}" srcOrd="0" destOrd="0" presId="urn:microsoft.com/office/officeart/2005/8/layout/orgChart1"/>
    <dgm:cxn modelId="{C5697BBF-A660-4CE2-BF5B-CBA9F3362CF8}" type="presOf" srcId="{C596D3E0-CF1C-4186-873C-266C0BDDA405}" destId="{2D62CCC2-632D-47CD-A6FB-AF9328D9C4C3}" srcOrd="0" destOrd="0" presId="urn:microsoft.com/office/officeart/2005/8/layout/orgChart1"/>
    <dgm:cxn modelId="{496904C0-1792-4660-ACBE-B480DA28ABB5}" type="presOf" srcId="{EB027484-7CEA-4CBE-BF58-C09DD2571399}" destId="{116439AF-00EB-4779-BBCF-EF4570381522}" srcOrd="1" destOrd="0" presId="urn:microsoft.com/office/officeart/2005/8/layout/orgChart1"/>
    <dgm:cxn modelId="{D1B983C0-2007-4A38-91D1-98934B2A816B}" type="presOf" srcId="{C57E2B08-C14F-4730-8F05-46A4E50E07A4}" destId="{BD124048-E30E-4AF4-8927-D2BF6DF4E839}" srcOrd="0" destOrd="0" presId="urn:microsoft.com/office/officeart/2005/8/layout/orgChart1"/>
    <dgm:cxn modelId="{E24D55C5-8E0B-4E82-AC38-DC39C7AA2566}" type="presOf" srcId="{8563E5FE-E641-4FF9-99CC-FF9B214DF7CC}" destId="{E7761F98-2E0E-4279-9A33-1D2E50C44278}" srcOrd="1" destOrd="0" presId="urn:microsoft.com/office/officeart/2005/8/layout/orgChart1"/>
    <dgm:cxn modelId="{655C3FC6-FF4D-46FD-8D3F-9F381934AB67}" type="presOf" srcId="{CC20C97E-EFDD-4A67-821C-3B85E1B7A98A}" destId="{C52852C6-20B4-46A2-B6DA-5FE9764A5987}" srcOrd="0" destOrd="0" presId="urn:microsoft.com/office/officeart/2005/8/layout/orgChart1"/>
    <dgm:cxn modelId="{CA2F0EC9-3A29-4B06-B0BA-DB95C9F58016}" type="presOf" srcId="{D542B1DD-46E2-4474-B7BF-3878A9A56C71}" destId="{522A1983-918D-4C5D-BB70-4BE5001AE973}" srcOrd="1" destOrd="0" presId="urn:microsoft.com/office/officeart/2005/8/layout/orgChart1"/>
    <dgm:cxn modelId="{A4916FCD-AF4F-46B6-BB61-33A34E8A2242}" type="presOf" srcId="{9389D54E-AB64-4042-8F70-8376E8A9A5DE}" destId="{969567DE-0F9A-44AD-9AC7-2008E0BA6F36}" srcOrd="0" destOrd="0" presId="urn:microsoft.com/office/officeart/2005/8/layout/orgChart1"/>
    <dgm:cxn modelId="{C87C28CE-18D0-4A5C-9401-129A6314442E}" type="presOf" srcId="{7CCC1F36-2DB0-4F7B-B68E-5AD0930837A4}" destId="{2C260D77-769B-4ABC-98F4-4E6E3CB1EF90}" srcOrd="1" destOrd="0" presId="urn:microsoft.com/office/officeart/2005/8/layout/orgChart1"/>
    <dgm:cxn modelId="{225E5FCF-D35F-4FFC-A7CC-692BF3F6A61D}" type="presOf" srcId="{C17649F9-BFF1-4BE6-B8B8-303453278CF0}" destId="{F929F757-2139-4639-B1D3-CE8ADCE78BBA}" srcOrd="0" destOrd="0" presId="urn:microsoft.com/office/officeart/2005/8/layout/orgChart1"/>
    <dgm:cxn modelId="{E8A968CF-287A-403B-AAC5-E0CF177F65F7}" type="presOf" srcId="{7C0EEABC-8DF5-408A-9894-C24E9F6E7191}" destId="{B7136812-4C19-4C10-89D4-278D140C624B}" srcOrd="0" destOrd="0" presId="urn:microsoft.com/office/officeart/2005/8/layout/orgChart1"/>
    <dgm:cxn modelId="{6F8573CF-90F0-45F2-831C-02144EF21676}" type="presOf" srcId="{390A138D-0D14-4672-A950-BB8F9BA5456F}" destId="{08366D94-90F2-4C2C-AE28-E772A8984FA4}" srcOrd="0" destOrd="0" presId="urn:microsoft.com/office/officeart/2005/8/layout/orgChart1"/>
    <dgm:cxn modelId="{F5BD40D3-DE57-4F25-A4BE-503476327389}" type="presOf" srcId="{A2E77860-7E2A-433A-966B-68E3B0ED292E}" destId="{02E30223-5A85-4CD9-B03E-A6B5D0EFBA44}" srcOrd="0" destOrd="0" presId="urn:microsoft.com/office/officeart/2005/8/layout/orgChart1"/>
    <dgm:cxn modelId="{6908A9D4-4AE4-4458-A1DD-067D726D76DD}" type="presOf" srcId="{9F1142D6-E2EB-4B62-9657-E1BFD7D3F930}" destId="{6C54FE7E-1514-4596-B8CE-BCE54D5A582E}" srcOrd="0" destOrd="0" presId="urn:microsoft.com/office/officeart/2005/8/layout/orgChart1"/>
    <dgm:cxn modelId="{19BD47DB-3A42-4CBA-921B-FD76E6AE720B}" type="presOf" srcId="{C57E2B08-C14F-4730-8F05-46A4E50E07A4}" destId="{266370AC-8E10-4BE9-8937-5CACF751948A}" srcOrd="1" destOrd="0" presId="urn:microsoft.com/office/officeart/2005/8/layout/orgChart1"/>
    <dgm:cxn modelId="{3C7A3EDC-9B99-43DB-AEF2-00E27684AFCB}" type="presOf" srcId="{7EB381B7-691F-4C6F-8316-D1C35BD39375}" destId="{1A2F3EB9-ACE1-40F9-9A56-22D4D9960033}" srcOrd="1" destOrd="0" presId="urn:microsoft.com/office/officeart/2005/8/layout/orgChart1"/>
    <dgm:cxn modelId="{13669BE1-71D4-454F-847E-403E2917F67F}" type="presOf" srcId="{21E8E939-A3EA-468E-BB6F-0D06B0D9E286}" destId="{1818E30B-B547-4E0E-BC86-69545FA8ADC9}" srcOrd="0" destOrd="0" presId="urn:microsoft.com/office/officeart/2005/8/layout/orgChart1"/>
    <dgm:cxn modelId="{DE3BE4E7-96EB-4908-B779-45BE0C6399B2}" type="presOf" srcId="{FD10F90F-B12D-4036-82A3-E1375D5847BB}" destId="{EA7938CB-A733-44C1-A071-6CDE35869C6C}" srcOrd="0" destOrd="0" presId="urn:microsoft.com/office/officeart/2005/8/layout/orgChart1"/>
    <dgm:cxn modelId="{FCE403EA-DA41-44D8-BA63-02EEEA16CBD3}" type="presOf" srcId="{70AF50A3-7956-46A4-B3EC-CC9D98A8980A}" destId="{C4D0D079-FAD2-4139-AE0D-74231AED71A6}" srcOrd="0" destOrd="0" presId="urn:microsoft.com/office/officeart/2005/8/layout/orgChart1"/>
    <dgm:cxn modelId="{F9D5EDEA-06E0-44D6-B4FA-EFF354A2EB6C}" type="presOf" srcId="{8410ED97-D266-4605-BA7F-9D2AE9B10EE6}" destId="{8F7B87B7-5054-4628-BAC8-8537DE0CCE45}" srcOrd="0" destOrd="0" presId="urn:microsoft.com/office/officeart/2005/8/layout/orgChart1"/>
    <dgm:cxn modelId="{948EF4EE-745F-44C1-9905-4218856BE30B}" srcId="{8410ED97-D266-4605-BA7F-9D2AE9B10EE6}" destId="{8F3F50B9-37C4-42EA-8358-AEC4157E2AF8}" srcOrd="3" destOrd="0" parTransId="{21689C3F-6CCC-4E59-B76A-06634ED8F228}" sibTransId="{AA3E14EA-5736-41AA-B0B7-EBF6253A0CED}"/>
    <dgm:cxn modelId="{2F2702F1-2C2C-4617-A586-A1761A85420B}" type="presOf" srcId="{111E18F4-EF8B-4472-A2D1-E52F7FB4758B}" destId="{7F2C8B3F-CC73-4AF4-B493-142FDFBE4550}" srcOrd="0" destOrd="0" presId="urn:microsoft.com/office/officeart/2005/8/layout/orgChart1"/>
    <dgm:cxn modelId="{B7B554F1-2756-4094-BAB3-EEC1966E2E71}" type="presOf" srcId="{83A94C31-192F-4363-BF44-A26B80312B5D}" destId="{DF095356-8FD5-4CF9-AD53-34627F5EA4EE}" srcOrd="0" destOrd="0" presId="urn:microsoft.com/office/officeart/2005/8/layout/orgChart1"/>
    <dgm:cxn modelId="{322F08F4-2CF5-4E4E-9D80-8F2FF8E59D8F}" type="presOf" srcId="{390A138D-0D14-4672-A950-BB8F9BA5456F}" destId="{A373176A-71B9-4DF1-81D6-ACC84D9C7534}" srcOrd="1" destOrd="0" presId="urn:microsoft.com/office/officeart/2005/8/layout/orgChart1"/>
    <dgm:cxn modelId="{54827AF5-6B17-4977-8860-1C1A85AE4F7D}" type="presOf" srcId="{35915763-0031-42C8-BC36-F3886FBA273E}" destId="{E4B24ED9-AEA6-4719-9AAC-19425E50102E}" srcOrd="0" destOrd="0" presId="urn:microsoft.com/office/officeart/2005/8/layout/orgChart1"/>
    <dgm:cxn modelId="{7EA7C5F5-79A3-4145-B2E2-630F8F86887E}" type="presOf" srcId="{AEB5C877-C77B-47BD-825A-482B3EB5DF5F}" destId="{008A9A80-BD13-446C-833B-2B197FFBA9AB}" srcOrd="0" destOrd="0" presId="urn:microsoft.com/office/officeart/2005/8/layout/orgChart1"/>
    <dgm:cxn modelId="{B09A44F6-FB9D-4A66-A1FF-DF393A33516C}" type="presOf" srcId="{25AF2A20-742B-4B54-82EE-1A36C3C1A1C1}" destId="{492EE907-4099-4D6E-8EF8-4A500681DBF1}" srcOrd="1" destOrd="0" presId="urn:microsoft.com/office/officeart/2005/8/layout/orgChart1"/>
    <dgm:cxn modelId="{B1AB0FF7-613E-492E-B5B1-754D5DC38848}" srcId="{7E9A69E0-D2E0-4016-9D17-91D1DF9FC6D8}" destId="{7BD08634-225A-4977-823F-7B46D43F9618}" srcOrd="0" destOrd="0" parTransId="{9F575CF3-260F-414F-A0FA-8DEC83767B2D}" sibTransId="{B3E92EBC-7044-4223-ABB8-5256FDB93486}"/>
    <dgm:cxn modelId="{1B91B9F7-2AE3-4EF1-9E47-274AA3B20355}" type="presOf" srcId="{715F685F-1B97-4735-9D7D-F06EC3224C5B}" destId="{3F7C118D-3B24-43E5-AF62-CC83C5D3392C}" srcOrd="1" destOrd="0" presId="urn:microsoft.com/office/officeart/2005/8/layout/orgChart1"/>
    <dgm:cxn modelId="{2F2130F8-4BF4-43C1-8B52-E58C7BF7CDA4}" type="presOf" srcId="{111E18F4-EF8B-4472-A2D1-E52F7FB4758B}" destId="{91F4DFD6-08F3-4398-8E0A-317B7ABFFAC4}" srcOrd="1" destOrd="0" presId="urn:microsoft.com/office/officeart/2005/8/layout/orgChart1"/>
    <dgm:cxn modelId="{D1BF9DF9-1189-4BB4-800D-FC4D5EE2293D}" type="presOf" srcId="{735E0ECF-1473-4459-9782-B3BFD89D844B}" destId="{663788D1-3B8C-4438-98A1-293F772704C9}" srcOrd="1" destOrd="0" presId="urn:microsoft.com/office/officeart/2005/8/layout/orgChart1"/>
    <dgm:cxn modelId="{EBC060FD-514D-44BE-B7DD-5CA7B4BF75FF}" type="presOf" srcId="{5DD04D94-63F5-46D2-836B-799343460FE1}" destId="{F011C554-4A65-43E0-B4F5-42A7471FA97C}" srcOrd="1" destOrd="0" presId="urn:microsoft.com/office/officeart/2005/8/layout/orgChart1"/>
    <dgm:cxn modelId="{4A1C6FFF-E36A-4132-AD6B-D8AD1D87A9D6}" srcId="{735E0ECF-1473-4459-9782-B3BFD89D844B}" destId="{7D5AACEE-FB7C-41F0-B700-2BEA45C6465D}" srcOrd="6" destOrd="0" parTransId="{A78BB8C4-91F6-4281-891A-5E4792BAC6C6}" sibTransId="{69BF3DDC-D852-4E1C-B873-FDCAA00EC63A}"/>
    <dgm:cxn modelId="{2E4573A1-A4A1-49C3-92A3-B9B9C8247AE1}" type="presParOf" srcId="{008A9A80-BD13-446C-833B-2B197FFBA9AB}" destId="{ADF78B51-FF65-46D3-95B4-403BD752DD8A}" srcOrd="0" destOrd="0" presId="urn:microsoft.com/office/officeart/2005/8/layout/orgChart1"/>
    <dgm:cxn modelId="{C6508C64-7921-43C9-8100-1BC82469C1F5}" type="presParOf" srcId="{ADF78B51-FF65-46D3-95B4-403BD752DD8A}" destId="{D1481A51-9A8E-4E3F-ACFE-BBFBAA069003}" srcOrd="0" destOrd="0" presId="urn:microsoft.com/office/officeart/2005/8/layout/orgChart1"/>
    <dgm:cxn modelId="{5780DAB9-89DF-4203-8ADC-C2580D490F1F}" type="presParOf" srcId="{D1481A51-9A8E-4E3F-ACFE-BBFBAA069003}" destId="{608CB659-20FB-4FD5-BD59-4EDC1CFD706A}" srcOrd="0" destOrd="0" presId="urn:microsoft.com/office/officeart/2005/8/layout/orgChart1"/>
    <dgm:cxn modelId="{6EE2DC87-5CB0-4BBD-9968-4F1B5C6ABC26}" type="presParOf" srcId="{D1481A51-9A8E-4E3F-ACFE-BBFBAA069003}" destId="{663788D1-3B8C-4438-98A1-293F772704C9}" srcOrd="1" destOrd="0" presId="urn:microsoft.com/office/officeart/2005/8/layout/orgChart1"/>
    <dgm:cxn modelId="{B6E59371-BD2B-4A67-91A6-4677BEAAA408}" type="presParOf" srcId="{ADF78B51-FF65-46D3-95B4-403BD752DD8A}" destId="{B3767120-1D84-4CBF-A42A-7963C47D4D0B}" srcOrd="1" destOrd="0" presId="urn:microsoft.com/office/officeart/2005/8/layout/orgChart1"/>
    <dgm:cxn modelId="{AFC63573-FAFD-4581-85C9-1EC23A9F7A9E}" type="presParOf" srcId="{B3767120-1D84-4CBF-A42A-7963C47D4D0B}" destId="{AA2C4414-7EF3-4BAE-A19E-E52D628B3FAE}" srcOrd="0" destOrd="0" presId="urn:microsoft.com/office/officeart/2005/8/layout/orgChart1"/>
    <dgm:cxn modelId="{9253C694-DAFA-4083-8C03-6F64A39DD069}" type="presParOf" srcId="{B3767120-1D84-4CBF-A42A-7963C47D4D0B}" destId="{6387B0E3-D0C5-444F-9B93-1D720208E895}" srcOrd="1" destOrd="0" presId="urn:microsoft.com/office/officeart/2005/8/layout/orgChart1"/>
    <dgm:cxn modelId="{2D1522F9-BE14-419D-8FEB-4D68CC836705}" type="presParOf" srcId="{6387B0E3-D0C5-444F-9B93-1D720208E895}" destId="{12FC5992-2B6A-4B44-9993-4ACF04F605A0}" srcOrd="0" destOrd="0" presId="urn:microsoft.com/office/officeart/2005/8/layout/orgChart1"/>
    <dgm:cxn modelId="{B31F7DAE-E5E0-475E-A8EC-8D506EB990DE}" type="presParOf" srcId="{12FC5992-2B6A-4B44-9993-4ACF04F605A0}" destId="{AC5FF851-1189-4F95-8351-A97A476B2246}" srcOrd="0" destOrd="0" presId="urn:microsoft.com/office/officeart/2005/8/layout/orgChart1"/>
    <dgm:cxn modelId="{97EB837D-E706-48E3-8E2F-27CF3BBD0626}" type="presParOf" srcId="{12FC5992-2B6A-4B44-9993-4ACF04F605A0}" destId="{2FD465CE-D641-4F07-9394-155CB7FBF3F3}" srcOrd="1" destOrd="0" presId="urn:microsoft.com/office/officeart/2005/8/layout/orgChart1"/>
    <dgm:cxn modelId="{B0D087F3-5596-436B-B2D3-4CD9253D4CCC}" type="presParOf" srcId="{6387B0E3-D0C5-444F-9B93-1D720208E895}" destId="{C59FB238-8008-4F2B-BC0E-E3651B88BA6C}" srcOrd="1" destOrd="0" presId="urn:microsoft.com/office/officeart/2005/8/layout/orgChart1"/>
    <dgm:cxn modelId="{8AAD736B-C73C-4510-BD2D-EBE0D4189679}" type="presParOf" srcId="{C59FB238-8008-4F2B-BC0E-E3651B88BA6C}" destId="{6C54FE7E-1514-4596-B8CE-BCE54D5A582E}" srcOrd="0" destOrd="0" presId="urn:microsoft.com/office/officeart/2005/8/layout/orgChart1"/>
    <dgm:cxn modelId="{78DBE5D3-B336-4C6F-92C8-DD5921AE1032}" type="presParOf" srcId="{C59FB238-8008-4F2B-BC0E-E3651B88BA6C}" destId="{7D945FEB-5361-4AD6-B303-4D1323345AFD}" srcOrd="1" destOrd="0" presId="urn:microsoft.com/office/officeart/2005/8/layout/orgChart1"/>
    <dgm:cxn modelId="{2B6FF013-25DD-4E0D-9802-1C053022D6EF}" type="presParOf" srcId="{7D945FEB-5361-4AD6-B303-4D1323345AFD}" destId="{91AB74F7-9E90-4010-8B4C-0DCFF9C74B1D}" srcOrd="0" destOrd="0" presId="urn:microsoft.com/office/officeart/2005/8/layout/orgChart1"/>
    <dgm:cxn modelId="{30F6661C-B9B7-41C3-8A36-141C71F16CC7}" type="presParOf" srcId="{91AB74F7-9E90-4010-8B4C-0DCFF9C74B1D}" destId="{857E5E5B-C52C-4438-9D5D-D1C33F85DC46}" srcOrd="0" destOrd="0" presId="urn:microsoft.com/office/officeart/2005/8/layout/orgChart1"/>
    <dgm:cxn modelId="{77826211-BF16-4B2A-B449-F865ACDA846E}" type="presParOf" srcId="{91AB74F7-9E90-4010-8B4C-0DCFF9C74B1D}" destId="{116439AF-00EB-4779-BBCF-EF4570381522}" srcOrd="1" destOrd="0" presId="urn:microsoft.com/office/officeart/2005/8/layout/orgChart1"/>
    <dgm:cxn modelId="{4371FF61-4639-41E0-B8D2-54EAA592CB65}" type="presParOf" srcId="{7D945FEB-5361-4AD6-B303-4D1323345AFD}" destId="{B26C6A3D-750B-4C7E-86F3-4CA28EA85EAB}" srcOrd="1" destOrd="0" presId="urn:microsoft.com/office/officeart/2005/8/layout/orgChart1"/>
    <dgm:cxn modelId="{BA5A2545-D83C-4F2F-9ABF-830E4EA484A8}" type="presParOf" srcId="{7D945FEB-5361-4AD6-B303-4D1323345AFD}" destId="{5D7DF315-D2F7-466C-B680-AD076590EABC}" srcOrd="2" destOrd="0" presId="urn:microsoft.com/office/officeart/2005/8/layout/orgChart1"/>
    <dgm:cxn modelId="{11F6FCAC-0C91-4C27-8EDC-0233F5FBEDEA}" type="presParOf" srcId="{C59FB238-8008-4F2B-BC0E-E3651B88BA6C}" destId="{B7136812-4C19-4C10-89D4-278D140C624B}" srcOrd="2" destOrd="0" presId="urn:microsoft.com/office/officeart/2005/8/layout/orgChart1"/>
    <dgm:cxn modelId="{1190EF3B-5C07-4058-BA1E-664C32636850}" type="presParOf" srcId="{C59FB238-8008-4F2B-BC0E-E3651B88BA6C}" destId="{F6E2A9F1-6126-4B48-9E3D-372671B0AF6E}" srcOrd="3" destOrd="0" presId="urn:microsoft.com/office/officeart/2005/8/layout/orgChart1"/>
    <dgm:cxn modelId="{2DC6B214-3B6C-4E02-A9C0-EDA7C252389C}" type="presParOf" srcId="{F6E2A9F1-6126-4B48-9E3D-372671B0AF6E}" destId="{6109FB4E-A204-4923-B861-9C6B2589C5B9}" srcOrd="0" destOrd="0" presId="urn:microsoft.com/office/officeart/2005/8/layout/orgChart1"/>
    <dgm:cxn modelId="{384B5540-7F1D-4037-885E-283557C33E49}" type="presParOf" srcId="{6109FB4E-A204-4923-B861-9C6B2589C5B9}" destId="{F85C2A93-DDBC-49AC-A446-5B19392565FB}" srcOrd="0" destOrd="0" presId="urn:microsoft.com/office/officeart/2005/8/layout/orgChart1"/>
    <dgm:cxn modelId="{A17B919D-0E52-4ECA-BB49-3A32379D8ADA}" type="presParOf" srcId="{6109FB4E-A204-4923-B861-9C6B2589C5B9}" destId="{1A2F3EB9-ACE1-40F9-9A56-22D4D9960033}" srcOrd="1" destOrd="0" presId="urn:microsoft.com/office/officeart/2005/8/layout/orgChart1"/>
    <dgm:cxn modelId="{9B6FFA19-653D-4D5D-B13F-F9DD2256E5E9}" type="presParOf" srcId="{F6E2A9F1-6126-4B48-9E3D-372671B0AF6E}" destId="{249B81BC-1843-479D-819B-B4ED92B6910A}" srcOrd="1" destOrd="0" presId="urn:microsoft.com/office/officeart/2005/8/layout/orgChart1"/>
    <dgm:cxn modelId="{1C84F345-F2F3-4AC8-B4E7-887458C1C715}" type="presParOf" srcId="{F6E2A9F1-6126-4B48-9E3D-372671B0AF6E}" destId="{6CE584A6-A9C9-44D7-8D47-A88478CAEB05}" srcOrd="2" destOrd="0" presId="urn:microsoft.com/office/officeart/2005/8/layout/orgChart1"/>
    <dgm:cxn modelId="{1BF4277E-2BAD-4790-AA94-6E0AD9C97F57}" type="presParOf" srcId="{C59FB238-8008-4F2B-BC0E-E3651B88BA6C}" destId="{969567DE-0F9A-44AD-9AC7-2008E0BA6F36}" srcOrd="4" destOrd="0" presId="urn:microsoft.com/office/officeart/2005/8/layout/orgChart1"/>
    <dgm:cxn modelId="{F422C14B-F600-45C4-B7C5-43895892B19D}" type="presParOf" srcId="{C59FB238-8008-4F2B-BC0E-E3651B88BA6C}" destId="{22009DBF-B6DB-45A7-B7C0-24906C94241B}" srcOrd="5" destOrd="0" presId="urn:microsoft.com/office/officeart/2005/8/layout/orgChart1"/>
    <dgm:cxn modelId="{68A1E4DC-0AD8-40C6-BAE9-90C27967FBAC}" type="presParOf" srcId="{22009DBF-B6DB-45A7-B7C0-24906C94241B}" destId="{4AEF0D44-F622-45AB-A820-DE7A379E794A}" srcOrd="0" destOrd="0" presId="urn:microsoft.com/office/officeart/2005/8/layout/orgChart1"/>
    <dgm:cxn modelId="{FFE022C0-B6B2-48A4-8992-FECE9503862F}" type="presParOf" srcId="{4AEF0D44-F622-45AB-A820-DE7A379E794A}" destId="{2CC47D3C-9AD8-4160-81D7-015FC3BB09CF}" srcOrd="0" destOrd="0" presId="urn:microsoft.com/office/officeart/2005/8/layout/orgChart1"/>
    <dgm:cxn modelId="{CBF678BE-7932-428C-811F-3E2864D7CF76}" type="presParOf" srcId="{4AEF0D44-F622-45AB-A820-DE7A379E794A}" destId="{F011C554-4A65-43E0-B4F5-42A7471FA97C}" srcOrd="1" destOrd="0" presId="urn:microsoft.com/office/officeart/2005/8/layout/orgChart1"/>
    <dgm:cxn modelId="{6331C3CD-4B1D-4BAC-888D-84ABB3767AB6}" type="presParOf" srcId="{22009DBF-B6DB-45A7-B7C0-24906C94241B}" destId="{29B241D6-94D3-4880-A19E-AD69EA0928E0}" srcOrd="1" destOrd="0" presId="urn:microsoft.com/office/officeart/2005/8/layout/orgChart1"/>
    <dgm:cxn modelId="{66DCAC6C-EFEA-4948-8DC7-F791176425E1}" type="presParOf" srcId="{22009DBF-B6DB-45A7-B7C0-24906C94241B}" destId="{C1CC8F63-C8A1-4472-8BF6-55DCB286020A}" srcOrd="2" destOrd="0" presId="urn:microsoft.com/office/officeart/2005/8/layout/orgChart1"/>
    <dgm:cxn modelId="{E2390BDB-4761-49BA-9180-B6F14A732962}" type="presParOf" srcId="{6387B0E3-D0C5-444F-9B93-1D720208E895}" destId="{8349AF55-683F-4F61-A046-C0C13CC76D05}" srcOrd="2" destOrd="0" presId="urn:microsoft.com/office/officeart/2005/8/layout/orgChart1"/>
    <dgm:cxn modelId="{7BD6394D-8F17-4BB4-A796-453E0B0FEF31}" type="presParOf" srcId="{B3767120-1D84-4CBF-A42A-7963C47D4D0B}" destId="{2D62CCC2-632D-47CD-A6FB-AF9328D9C4C3}" srcOrd="2" destOrd="0" presId="urn:microsoft.com/office/officeart/2005/8/layout/orgChart1"/>
    <dgm:cxn modelId="{7838C3D0-25AC-4BFE-824D-CEFAEAF8AE3B}" type="presParOf" srcId="{B3767120-1D84-4CBF-A42A-7963C47D4D0B}" destId="{DFA3A91B-E297-4234-BFEC-E07215C4A4F0}" srcOrd="3" destOrd="0" presId="urn:microsoft.com/office/officeart/2005/8/layout/orgChart1"/>
    <dgm:cxn modelId="{398A7B00-0328-4A22-B05C-8FB008089D82}" type="presParOf" srcId="{DFA3A91B-E297-4234-BFEC-E07215C4A4F0}" destId="{09E9B259-37C6-4DAC-B977-55FDCFAE76AB}" srcOrd="0" destOrd="0" presId="urn:microsoft.com/office/officeart/2005/8/layout/orgChart1"/>
    <dgm:cxn modelId="{58E0FFDE-CA18-4AF2-AEB9-7C463A134CAC}" type="presParOf" srcId="{09E9B259-37C6-4DAC-B977-55FDCFAE76AB}" destId="{43FE5B09-28AC-4B39-BFE9-1C78BB5E9846}" srcOrd="0" destOrd="0" presId="urn:microsoft.com/office/officeart/2005/8/layout/orgChart1"/>
    <dgm:cxn modelId="{8DCF7358-67FC-4188-A36B-EBC493E4155A}" type="presParOf" srcId="{09E9B259-37C6-4DAC-B977-55FDCFAE76AB}" destId="{71D9930B-3E8E-46AF-9F9D-50C9E28A14EA}" srcOrd="1" destOrd="0" presId="urn:microsoft.com/office/officeart/2005/8/layout/orgChart1"/>
    <dgm:cxn modelId="{23BF2C8F-8CAA-47CC-B209-F9D7CB866B50}" type="presParOf" srcId="{DFA3A91B-E297-4234-BFEC-E07215C4A4F0}" destId="{CE602C07-2778-4BEB-9377-8EF46EEC3364}" srcOrd="1" destOrd="0" presId="urn:microsoft.com/office/officeart/2005/8/layout/orgChart1"/>
    <dgm:cxn modelId="{627FFD97-3FA1-43F8-BC7F-F1607E861100}" type="presParOf" srcId="{DFA3A91B-E297-4234-BFEC-E07215C4A4F0}" destId="{5BC729F7-A32A-4515-A574-DFBC30FDA19B}" srcOrd="2" destOrd="0" presId="urn:microsoft.com/office/officeart/2005/8/layout/orgChart1"/>
    <dgm:cxn modelId="{AAABF397-6C85-4831-8C58-9EA1C41C6D6F}" type="presParOf" srcId="{5BC729F7-A32A-4515-A574-DFBC30FDA19B}" destId="{00123271-9238-4D01-BFEA-7C510FB4B13F}" srcOrd="0" destOrd="0" presId="urn:microsoft.com/office/officeart/2005/8/layout/orgChart1"/>
    <dgm:cxn modelId="{B7F3A772-2164-4C44-8735-CFAD31CE3FCA}" type="presParOf" srcId="{5BC729F7-A32A-4515-A574-DFBC30FDA19B}" destId="{65808E33-8281-4578-8B87-16D9583639A7}" srcOrd="1" destOrd="0" presId="urn:microsoft.com/office/officeart/2005/8/layout/orgChart1"/>
    <dgm:cxn modelId="{6CCF63A0-E31E-44CD-9808-A0509983C65C}" type="presParOf" srcId="{65808E33-8281-4578-8B87-16D9583639A7}" destId="{10C58298-5FAD-4D83-B55F-CFFF08D69FFF}" srcOrd="0" destOrd="0" presId="urn:microsoft.com/office/officeart/2005/8/layout/orgChart1"/>
    <dgm:cxn modelId="{1825D9FF-016B-4206-A955-CE56E014229E}" type="presParOf" srcId="{10C58298-5FAD-4D83-B55F-CFFF08D69FFF}" destId="{08BECAE6-284F-47AC-9E23-23A5AEFDA4BF}" srcOrd="0" destOrd="0" presId="urn:microsoft.com/office/officeart/2005/8/layout/orgChart1"/>
    <dgm:cxn modelId="{3ABA8C13-3878-4A97-9DF6-A31063144955}" type="presParOf" srcId="{10C58298-5FAD-4D83-B55F-CFFF08D69FFF}" destId="{522A1983-918D-4C5D-BB70-4BE5001AE973}" srcOrd="1" destOrd="0" presId="urn:microsoft.com/office/officeart/2005/8/layout/orgChart1"/>
    <dgm:cxn modelId="{A69622CB-E9A7-49B8-95F7-21A4D21CD2AF}" type="presParOf" srcId="{65808E33-8281-4578-8B87-16D9583639A7}" destId="{FC581AF4-46E3-4848-86CE-06D7BC19B7A2}" srcOrd="1" destOrd="0" presId="urn:microsoft.com/office/officeart/2005/8/layout/orgChart1"/>
    <dgm:cxn modelId="{2B9B3C10-6CF4-4B4F-BE45-CE2F4D999BFD}" type="presParOf" srcId="{65808E33-8281-4578-8B87-16D9583639A7}" destId="{46FEAFB2-BD09-4BD9-B17B-9894648A8921}" srcOrd="2" destOrd="0" presId="urn:microsoft.com/office/officeart/2005/8/layout/orgChart1"/>
    <dgm:cxn modelId="{88BF71E0-177C-4B54-93C5-5C2F5EEF017C}" type="presParOf" srcId="{5BC729F7-A32A-4515-A574-DFBC30FDA19B}" destId="{C25EAEC4-21DF-4A89-BE31-5C6BBEF765AB}" srcOrd="2" destOrd="0" presId="urn:microsoft.com/office/officeart/2005/8/layout/orgChart1"/>
    <dgm:cxn modelId="{C7B7EB59-9556-4459-9CFA-1739DB527C00}" type="presParOf" srcId="{5BC729F7-A32A-4515-A574-DFBC30FDA19B}" destId="{EFEFB371-281C-41C7-835B-CB826D279D49}" srcOrd="3" destOrd="0" presId="urn:microsoft.com/office/officeart/2005/8/layout/orgChart1"/>
    <dgm:cxn modelId="{D69091C7-AA2A-4452-8669-70A9804D96A2}" type="presParOf" srcId="{EFEFB371-281C-41C7-835B-CB826D279D49}" destId="{7948ED5D-48C5-4B03-983B-18113A1B963F}" srcOrd="0" destOrd="0" presId="urn:microsoft.com/office/officeart/2005/8/layout/orgChart1"/>
    <dgm:cxn modelId="{E4213FC6-40EC-4B57-81F7-80272B295BB8}" type="presParOf" srcId="{7948ED5D-48C5-4B03-983B-18113A1B963F}" destId="{5A3ED7B4-0FA6-4985-8E94-D5A1D2C89000}" srcOrd="0" destOrd="0" presId="urn:microsoft.com/office/officeart/2005/8/layout/orgChart1"/>
    <dgm:cxn modelId="{8602DF51-898A-4C3D-A0C9-BDDBEA03C33B}" type="presParOf" srcId="{7948ED5D-48C5-4B03-983B-18113A1B963F}" destId="{8E05BBDF-279D-4BA6-9EBE-6CDC6A0882C4}" srcOrd="1" destOrd="0" presId="urn:microsoft.com/office/officeart/2005/8/layout/orgChart1"/>
    <dgm:cxn modelId="{A65A2FCE-AF87-42B1-89CC-5CE25049D784}" type="presParOf" srcId="{EFEFB371-281C-41C7-835B-CB826D279D49}" destId="{9DD2B37E-D22C-459C-AB76-74B923E70313}" srcOrd="1" destOrd="0" presId="urn:microsoft.com/office/officeart/2005/8/layout/orgChart1"/>
    <dgm:cxn modelId="{F5566976-40F0-4BB1-B1FE-2267D7FD9E6E}" type="presParOf" srcId="{EFEFB371-281C-41C7-835B-CB826D279D49}" destId="{570B6B19-30C9-4597-9983-8D100C390116}" srcOrd="2" destOrd="0" presId="urn:microsoft.com/office/officeart/2005/8/layout/orgChart1"/>
    <dgm:cxn modelId="{0D65AE45-C4B7-4B15-BA69-2C7CC2136C90}" type="presParOf" srcId="{B3767120-1D84-4CBF-A42A-7963C47D4D0B}" destId="{04B36B14-FDED-4614-BB74-97EE5BB8F52D}" srcOrd="4" destOrd="0" presId="urn:microsoft.com/office/officeart/2005/8/layout/orgChart1"/>
    <dgm:cxn modelId="{CA30B9E4-D00B-4F37-B12D-94B44B4E97D3}" type="presParOf" srcId="{B3767120-1D84-4CBF-A42A-7963C47D4D0B}" destId="{106AC147-102C-49EA-AA5F-EF5284021786}" srcOrd="5" destOrd="0" presId="urn:microsoft.com/office/officeart/2005/8/layout/orgChart1"/>
    <dgm:cxn modelId="{1841EDF5-A9BC-4156-BBE4-D5B7C3A9E5D1}" type="presParOf" srcId="{106AC147-102C-49EA-AA5F-EF5284021786}" destId="{A185BBF1-A3C4-4167-BD2D-01117B8865F1}" srcOrd="0" destOrd="0" presId="urn:microsoft.com/office/officeart/2005/8/layout/orgChart1"/>
    <dgm:cxn modelId="{15CA7C13-37A1-4A02-B047-FE4F965115DA}" type="presParOf" srcId="{A185BBF1-A3C4-4167-BD2D-01117B8865F1}" destId="{6F5EABE9-ADCF-4968-81B3-04689CB922B9}" srcOrd="0" destOrd="0" presId="urn:microsoft.com/office/officeart/2005/8/layout/orgChart1"/>
    <dgm:cxn modelId="{6B530852-021B-4889-8B9B-2E8178BE5165}" type="presParOf" srcId="{A185BBF1-A3C4-4167-BD2D-01117B8865F1}" destId="{492EE907-4099-4D6E-8EF8-4A500681DBF1}" srcOrd="1" destOrd="0" presId="urn:microsoft.com/office/officeart/2005/8/layout/orgChart1"/>
    <dgm:cxn modelId="{0AF75155-0D03-4947-9D9E-71EA8C70E77B}" type="presParOf" srcId="{106AC147-102C-49EA-AA5F-EF5284021786}" destId="{604BD7F7-0389-4ECB-B419-E102FB55CEAC}" srcOrd="1" destOrd="0" presId="urn:microsoft.com/office/officeart/2005/8/layout/orgChart1"/>
    <dgm:cxn modelId="{1CE9BCEC-2F0B-4ECB-9216-31FD099FB7FC}" type="presParOf" srcId="{604BD7F7-0389-4ECB-B419-E102FB55CEAC}" destId="{EA7938CB-A733-44C1-A071-6CDE35869C6C}" srcOrd="0" destOrd="0" presId="urn:microsoft.com/office/officeart/2005/8/layout/orgChart1"/>
    <dgm:cxn modelId="{B49AAC6E-8316-4F5C-9058-8D7CC2C422DB}" type="presParOf" srcId="{604BD7F7-0389-4ECB-B419-E102FB55CEAC}" destId="{C9F3BD78-2D0F-4066-8C62-A4BEFC28C0D0}" srcOrd="1" destOrd="0" presId="urn:microsoft.com/office/officeart/2005/8/layout/orgChart1"/>
    <dgm:cxn modelId="{E23D895B-8BA8-46AD-841B-539928D2CD3B}" type="presParOf" srcId="{C9F3BD78-2D0F-4066-8C62-A4BEFC28C0D0}" destId="{2F419F38-8B4E-4E64-A62C-E8BE420A6A18}" srcOrd="0" destOrd="0" presId="urn:microsoft.com/office/officeart/2005/8/layout/orgChart1"/>
    <dgm:cxn modelId="{6CE81EBC-2813-4444-9F7B-038A161505FD}" type="presParOf" srcId="{2F419F38-8B4E-4E64-A62C-E8BE420A6A18}" destId="{77B0771F-7A97-4F55-B5C4-7CE3A24EA5FB}" srcOrd="0" destOrd="0" presId="urn:microsoft.com/office/officeart/2005/8/layout/orgChart1"/>
    <dgm:cxn modelId="{7697227B-4218-4C86-B3E3-50853E7A11C2}" type="presParOf" srcId="{2F419F38-8B4E-4E64-A62C-E8BE420A6A18}" destId="{3F7C118D-3B24-43E5-AF62-CC83C5D3392C}" srcOrd="1" destOrd="0" presId="urn:microsoft.com/office/officeart/2005/8/layout/orgChart1"/>
    <dgm:cxn modelId="{3A9C3661-1347-4A93-956B-8FB365667742}" type="presParOf" srcId="{C9F3BD78-2D0F-4066-8C62-A4BEFC28C0D0}" destId="{6C7F5E37-52AC-45D6-9664-BC3749591BBC}" srcOrd="1" destOrd="0" presId="urn:microsoft.com/office/officeart/2005/8/layout/orgChart1"/>
    <dgm:cxn modelId="{0DF762D3-1899-42F1-85FB-34E8AA54BEFE}" type="presParOf" srcId="{C9F3BD78-2D0F-4066-8C62-A4BEFC28C0D0}" destId="{FEFB6E19-5B2F-4FA2-B32C-4A76C28145E3}" srcOrd="2" destOrd="0" presId="urn:microsoft.com/office/officeart/2005/8/layout/orgChart1"/>
    <dgm:cxn modelId="{2FFE8FED-D4BF-4DF7-97D7-5D5121FA1D04}" type="presParOf" srcId="{604BD7F7-0389-4ECB-B419-E102FB55CEAC}" destId="{900AFB7F-2B1C-4F2F-90FD-534B3C5D185A}" srcOrd="2" destOrd="0" presId="urn:microsoft.com/office/officeart/2005/8/layout/orgChart1"/>
    <dgm:cxn modelId="{D9B3FA0F-0E12-4F52-8B52-EBEB9205228F}" type="presParOf" srcId="{604BD7F7-0389-4ECB-B419-E102FB55CEAC}" destId="{D2CE9645-9167-4CA8-9FAC-E5772265F1F1}" srcOrd="3" destOrd="0" presId="urn:microsoft.com/office/officeart/2005/8/layout/orgChart1"/>
    <dgm:cxn modelId="{1D5A2929-56DB-493E-A182-7628BE2A7BE2}" type="presParOf" srcId="{D2CE9645-9167-4CA8-9FAC-E5772265F1F1}" destId="{C62351E5-F559-42B9-866D-4EA52F6E0AC4}" srcOrd="0" destOrd="0" presId="urn:microsoft.com/office/officeart/2005/8/layout/orgChart1"/>
    <dgm:cxn modelId="{AD553E32-CAF8-4D7C-9787-5BE069F4F954}" type="presParOf" srcId="{C62351E5-F559-42B9-866D-4EA52F6E0AC4}" destId="{7F2C8B3F-CC73-4AF4-B493-142FDFBE4550}" srcOrd="0" destOrd="0" presId="urn:microsoft.com/office/officeart/2005/8/layout/orgChart1"/>
    <dgm:cxn modelId="{E4D048EC-216B-40E5-ACF3-9DF812928117}" type="presParOf" srcId="{C62351E5-F559-42B9-866D-4EA52F6E0AC4}" destId="{91F4DFD6-08F3-4398-8E0A-317B7ABFFAC4}" srcOrd="1" destOrd="0" presId="urn:microsoft.com/office/officeart/2005/8/layout/orgChart1"/>
    <dgm:cxn modelId="{ED2A265B-53E8-470A-B6DE-A42E0BE1CE03}" type="presParOf" srcId="{D2CE9645-9167-4CA8-9FAC-E5772265F1F1}" destId="{5A4AA5E7-9412-4F52-B3B0-D34C8376690E}" srcOrd="1" destOrd="0" presId="urn:microsoft.com/office/officeart/2005/8/layout/orgChart1"/>
    <dgm:cxn modelId="{1F2A6010-2D42-4D8C-91E2-3D632B4E83E9}" type="presParOf" srcId="{D2CE9645-9167-4CA8-9FAC-E5772265F1F1}" destId="{56D83448-7242-4F44-A164-1F2F2EA1B593}" srcOrd="2" destOrd="0" presId="urn:microsoft.com/office/officeart/2005/8/layout/orgChart1"/>
    <dgm:cxn modelId="{9711342F-626B-4EA8-96F2-69D07A619F03}" type="presParOf" srcId="{106AC147-102C-49EA-AA5F-EF5284021786}" destId="{DC47B5BE-0D25-4337-B97F-303E26D4FF58}" srcOrd="2" destOrd="0" presId="urn:microsoft.com/office/officeart/2005/8/layout/orgChart1"/>
    <dgm:cxn modelId="{0D097242-B9E2-42C8-B325-E1403B71E778}" type="presParOf" srcId="{B3767120-1D84-4CBF-A42A-7963C47D4D0B}" destId="{C52852C6-20B4-46A2-B6DA-5FE9764A5987}" srcOrd="6" destOrd="0" presId="urn:microsoft.com/office/officeart/2005/8/layout/orgChart1"/>
    <dgm:cxn modelId="{3175E67C-FAC1-4AD3-9417-4BF71F4D3ED4}" type="presParOf" srcId="{B3767120-1D84-4CBF-A42A-7963C47D4D0B}" destId="{B608C61A-120B-4251-B9EB-E7EDC8273B6F}" srcOrd="7" destOrd="0" presId="urn:microsoft.com/office/officeart/2005/8/layout/orgChart1"/>
    <dgm:cxn modelId="{F4A71831-E03C-4406-83C7-F11D66E4DC7C}" type="presParOf" srcId="{B608C61A-120B-4251-B9EB-E7EDC8273B6F}" destId="{6DEDE116-3EA2-4404-BA72-3E63AF293AAD}" srcOrd="0" destOrd="0" presId="urn:microsoft.com/office/officeart/2005/8/layout/orgChart1"/>
    <dgm:cxn modelId="{31904E82-2064-41CB-8491-0C504FFF8F0F}" type="presParOf" srcId="{6DEDE116-3EA2-4404-BA72-3E63AF293AAD}" destId="{93A91F1D-7D22-4985-85A0-25585DC5988D}" srcOrd="0" destOrd="0" presId="urn:microsoft.com/office/officeart/2005/8/layout/orgChart1"/>
    <dgm:cxn modelId="{135D8D56-71AF-4948-9610-3534EF340247}" type="presParOf" srcId="{6DEDE116-3EA2-4404-BA72-3E63AF293AAD}" destId="{C6591505-D2DB-4716-ADD2-239A1C546601}" srcOrd="1" destOrd="0" presId="urn:microsoft.com/office/officeart/2005/8/layout/orgChart1"/>
    <dgm:cxn modelId="{B2313819-4ADD-4477-9689-2C20B3A79562}" type="presParOf" srcId="{B608C61A-120B-4251-B9EB-E7EDC8273B6F}" destId="{938C0902-ABBE-4EAB-8859-4C995FBF347B}" srcOrd="1" destOrd="0" presId="urn:microsoft.com/office/officeart/2005/8/layout/orgChart1"/>
    <dgm:cxn modelId="{7C12CC31-A7C3-4E30-9E29-51B70F6C4E24}" type="presParOf" srcId="{938C0902-ABBE-4EAB-8859-4C995FBF347B}" destId="{624BD74D-0A26-4504-89C2-C0CE0AB010B7}" srcOrd="0" destOrd="0" presId="urn:microsoft.com/office/officeart/2005/8/layout/orgChart1"/>
    <dgm:cxn modelId="{4EF3E5A6-CBF1-4F90-92EF-C8523FB47634}" type="presParOf" srcId="{938C0902-ABBE-4EAB-8859-4C995FBF347B}" destId="{50712217-9B09-4EE8-97B8-7FFA82E90CAF}" srcOrd="1" destOrd="0" presId="urn:microsoft.com/office/officeart/2005/8/layout/orgChart1"/>
    <dgm:cxn modelId="{9928B04C-39C5-42A7-8F02-B9D03D563361}" type="presParOf" srcId="{50712217-9B09-4EE8-97B8-7FFA82E90CAF}" destId="{2584DB84-6D5D-4941-9889-C877F4F137C8}" srcOrd="0" destOrd="0" presId="urn:microsoft.com/office/officeart/2005/8/layout/orgChart1"/>
    <dgm:cxn modelId="{B269CB59-2642-4583-9EE0-D15977C7E32B}" type="presParOf" srcId="{2584DB84-6D5D-4941-9889-C877F4F137C8}" destId="{BD124048-E30E-4AF4-8927-D2BF6DF4E839}" srcOrd="0" destOrd="0" presId="urn:microsoft.com/office/officeart/2005/8/layout/orgChart1"/>
    <dgm:cxn modelId="{FD89E468-332D-4BE7-887C-8B1635F88AC3}" type="presParOf" srcId="{2584DB84-6D5D-4941-9889-C877F4F137C8}" destId="{266370AC-8E10-4BE9-8937-5CACF751948A}" srcOrd="1" destOrd="0" presId="urn:microsoft.com/office/officeart/2005/8/layout/orgChart1"/>
    <dgm:cxn modelId="{CA90100E-E712-4F74-AB9A-8C7AEB408BEE}" type="presParOf" srcId="{50712217-9B09-4EE8-97B8-7FFA82E90CAF}" destId="{0A7035F7-D8A1-4D40-96C5-ED61913FA500}" srcOrd="1" destOrd="0" presId="urn:microsoft.com/office/officeart/2005/8/layout/orgChart1"/>
    <dgm:cxn modelId="{ABBAA67E-E0DE-4F04-8310-FD5156DADC61}" type="presParOf" srcId="{50712217-9B09-4EE8-97B8-7FFA82E90CAF}" destId="{E25535BC-DEEC-4619-8D55-743647BB00EC}" srcOrd="2" destOrd="0" presId="urn:microsoft.com/office/officeart/2005/8/layout/orgChart1"/>
    <dgm:cxn modelId="{15B23894-2E19-499E-A324-2D8809CD7F70}" type="presParOf" srcId="{938C0902-ABBE-4EAB-8859-4C995FBF347B}" destId="{E4B24ED9-AEA6-4719-9AAC-19425E50102E}" srcOrd="2" destOrd="0" presId="urn:microsoft.com/office/officeart/2005/8/layout/orgChart1"/>
    <dgm:cxn modelId="{33B3891F-869F-4988-8669-5DCCC3DDAC76}" type="presParOf" srcId="{938C0902-ABBE-4EAB-8859-4C995FBF347B}" destId="{F3B32609-A687-45C6-A410-EBD5DD62AE65}" srcOrd="3" destOrd="0" presId="urn:microsoft.com/office/officeart/2005/8/layout/orgChart1"/>
    <dgm:cxn modelId="{C0AF2AC4-8A08-49B4-BAFD-A539C48BD264}" type="presParOf" srcId="{F3B32609-A687-45C6-A410-EBD5DD62AE65}" destId="{3A92B88B-6963-4975-BD04-61542137B14A}" srcOrd="0" destOrd="0" presId="urn:microsoft.com/office/officeart/2005/8/layout/orgChart1"/>
    <dgm:cxn modelId="{A7B760B9-4C3E-4994-A706-8E1C3D56C980}" type="presParOf" srcId="{3A92B88B-6963-4975-BD04-61542137B14A}" destId="{24BC7984-6149-4663-938B-04A9C51DF1FB}" srcOrd="0" destOrd="0" presId="urn:microsoft.com/office/officeart/2005/8/layout/orgChart1"/>
    <dgm:cxn modelId="{78348CCA-E458-495C-BA4A-1F80945EB5D9}" type="presParOf" srcId="{3A92B88B-6963-4975-BD04-61542137B14A}" destId="{2C260D77-769B-4ABC-98F4-4E6E3CB1EF90}" srcOrd="1" destOrd="0" presId="urn:microsoft.com/office/officeart/2005/8/layout/orgChart1"/>
    <dgm:cxn modelId="{12A6B81E-E1E1-40AA-B5C2-CC644C237C22}" type="presParOf" srcId="{F3B32609-A687-45C6-A410-EBD5DD62AE65}" destId="{8AC5A5D0-225B-45A7-B460-89BB69579712}" srcOrd="1" destOrd="0" presId="urn:microsoft.com/office/officeart/2005/8/layout/orgChart1"/>
    <dgm:cxn modelId="{F85D038E-E4FE-4980-B563-5022C1AFC7B6}" type="presParOf" srcId="{F3B32609-A687-45C6-A410-EBD5DD62AE65}" destId="{A77269D1-D7AC-4886-9B9C-6921666DD936}" srcOrd="2" destOrd="0" presId="urn:microsoft.com/office/officeart/2005/8/layout/orgChart1"/>
    <dgm:cxn modelId="{3AB6226A-41A1-4C86-93E3-D838D1D6730C}" type="presParOf" srcId="{B608C61A-120B-4251-B9EB-E7EDC8273B6F}" destId="{2FE1CF98-76D1-4570-9A8A-D319916AAC7F}" srcOrd="2" destOrd="0" presId="urn:microsoft.com/office/officeart/2005/8/layout/orgChart1"/>
    <dgm:cxn modelId="{100FD2AB-3F11-4002-BC76-ED33A1C13BF0}" type="presParOf" srcId="{B3767120-1D84-4CBF-A42A-7963C47D4D0B}" destId="{F929F757-2139-4639-B1D3-CE8ADCE78BBA}" srcOrd="8" destOrd="0" presId="urn:microsoft.com/office/officeart/2005/8/layout/orgChart1"/>
    <dgm:cxn modelId="{7708F0BD-4F0B-4CAB-9DFA-E291684F565D}" type="presParOf" srcId="{B3767120-1D84-4CBF-A42A-7963C47D4D0B}" destId="{4C37117A-CAE2-4740-80C0-AA5E6A50142C}" srcOrd="9" destOrd="0" presId="urn:microsoft.com/office/officeart/2005/8/layout/orgChart1"/>
    <dgm:cxn modelId="{4A2A0C8F-4B56-4DCE-BCA9-A725F5219C29}" type="presParOf" srcId="{4C37117A-CAE2-4740-80C0-AA5E6A50142C}" destId="{8DB180DB-7B7F-4C04-8F2C-12715E3C1CBF}" srcOrd="0" destOrd="0" presId="urn:microsoft.com/office/officeart/2005/8/layout/orgChart1"/>
    <dgm:cxn modelId="{01446429-853E-49EA-A5CA-69A9E5B9E63B}" type="presParOf" srcId="{8DB180DB-7B7F-4C04-8F2C-12715E3C1CBF}" destId="{6CAAA1BE-7B87-4DED-9787-733449A80F28}" srcOrd="0" destOrd="0" presId="urn:microsoft.com/office/officeart/2005/8/layout/orgChart1"/>
    <dgm:cxn modelId="{A11187F9-98DC-4FF2-BF69-984F1153F93D}" type="presParOf" srcId="{8DB180DB-7B7F-4C04-8F2C-12715E3C1CBF}" destId="{B028789A-6B95-4740-BB5B-7D4F9F092D34}" srcOrd="1" destOrd="0" presId="urn:microsoft.com/office/officeart/2005/8/layout/orgChart1"/>
    <dgm:cxn modelId="{0B795362-3E49-4840-9363-E0F3877BB8F1}" type="presParOf" srcId="{4C37117A-CAE2-4740-80C0-AA5E6A50142C}" destId="{C9D03D52-1B43-4CEF-8065-272B862E18D2}" srcOrd="1" destOrd="0" presId="urn:microsoft.com/office/officeart/2005/8/layout/orgChart1"/>
    <dgm:cxn modelId="{76BF7E6F-DB3F-47A1-B144-3AE22F3841C6}" type="presParOf" srcId="{C9D03D52-1B43-4CEF-8065-272B862E18D2}" destId="{957E809D-C625-45E2-A4FE-FD099A104FCD}" srcOrd="0" destOrd="0" presId="urn:microsoft.com/office/officeart/2005/8/layout/orgChart1"/>
    <dgm:cxn modelId="{4E266507-0C43-49DA-B465-F21994B5FF74}" type="presParOf" srcId="{C9D03D52-1B43-4CEF-8065-272B862E18D2}" destId="{2C50B6DC-888C-4E9E-BF3E-94B158D3BFC2}" srcOrd="1" destOrd="0" presId="urn:microsoft.com/office/officeart/2005/8/layout/orgChart1"/>
    <dgm:cxn modelId="{340B3BB7-78F5-480E-8DC7-E3C129357190}" type="presParOf" srcId="{2C50B6DC-888C-4E9E-BF3E-94B158D3BFC2}" destId="{D5DEC7AC-2AE5-4469-8CFA-9B75C61B4D95}" srcOrd="0" destOrd="0" presId="urn:microsoft.com/office/officeart/2005/8/layout/orgChart1"/>
    <dgm:cxn modelId="{687BAD0C-E540-4FA7-8B42-42CE32E39404}" type="presParOf" srcId="{D5DEC7AC-2AE5-4469-8CFA-9B75C61B4D95}" destId="{114A1E9B-4244-47DD-A8EB-7C1B5D345B1B}" srcOrd="0" destOrd="0" presId="urn:microsoft.com/office/officeart/2005/8/layout/orgChart1"/>
    <dgm:cxn modelId="{A81AAB11-2190-47E1-BD0C-660A32B58FBE}" type="presParOf" srcId="{D5DEC7AC-2AE5-4469-8CFA-9B75C61B4D95}" destId="{7CF936D8-A8D3-49F7-978F-412495FF0F34}" srcOrd="1" destOrd="0" presId="urn:microsoft.com/office/officeart/2005/8/layout/orgChart1"/>
    <dgm:cxn modelId="{53748F00-A865-46B6-8E32-28CC4732B777}" type="presParOf" srcId="{2C50B6DC-888C-4E9E-BF3E-94B158D3BFC2}" destId="{0BB22FED-9391-4671-A011-2A1802731C2A}" srcOrd="1" destOrd="0" presId="urn:microsoft.com/office/officeart/2005/8/layout/orgChart1"/>
    <dgm:cxn modelId="{E16AAB23-5C31-4776-96DB-745776E4B83B}" type="presParOf" srcId="{2C50B6DC-888C-4E9E-BF3E-94B158D3BFC2}" destId="{0B3BE33A-84D1-4E27-BB41-7CA97170FD4E}" srcOrd="2" destOrd="0" presId="urn:microsoft.com/office/officeart/2005/8/layout/orgChart1"/>
    <dgm:cxn modelId="{F28858FA-ABCF-4C3B-B458-107685FB124F}" type="presParOf" srcId="{4C37117A-CAE2-4740-80C0-AA5E6A50142C}" destId="{8BF2F9AF-B424-49FA-95AD-004F64B3E189}" srcOrd="2" destOrd="0" presId="urn:microsoft.com/office/officeart/2005/8/layout/orgChart1"/>
    <dgm:cxn modelId="{0FE4AE6D-65ED-4B51-BA5A-71F75B5441F6}" type="presParOf" srcId="{8BF2F9AF-B424-49FA-95AD-004F64B3E189}" destId="{807C63BC-444B-43F4-BA09-4D600060F48A}" srcOrd="0" destOrd="0" presId="urn:microsoft.com/office/officeart/2005/8/layout/orgChart1"/>
    <dgm:cxn modelId="{8F5C50F7-1E9F-4076-991B-61FEDA4157ED}" type="presParOf" srcId="{8BF2F9AF-B424-49FA-95AD-004F64B3E189}" destId="{B6122BA3-354D-4FAB-89AA-4D6A193DB465}" srcOrd="1" destOrd="0" presId="urn:microsoft.com/office/officeart/2005/8/layout/orgChart1"/>
    <dgm:cxn modelId="{61DBA3E7-BD2A-44CD-8EA4-B79F8309EB23}" type="presParOf" srcId="{B6122BA3-354D-4FAB-89AA-4D6A193DB465}" destId="{B59EC136-8161-4D0C-944F-BACC6BBE9CB8}" srcOrd="0" destOrd="0" presId="urn:microsoft.com/office/officeart/2005/8/layout/orgChart1"/>
    <dgm:cxn modelId="{45FFD0CC-40BA-4689-86A5-C63D32B7D1D1}" type="presParOf" srcId="{B59EC136-8161-4D0C-944F-BACC6BBE9CB8}" destId="{C4D0D079-FAD2-4139-AE0D-74231AED71A6}" srcOrd="0" destOrd="0" presId="urn:microsoft.com/office/officeart/2005/8/layout/orgChart1"/>
    <dgm:cxn modelId="{34C3D415-CBD4-4FC3-AB5F-3249BFDDE428}" type="presParOf" srcId="{B59EC136-8161-4D0C-944F-BACC6BBE9CB8}" destId="{9AA3ED86-7676-46C9-ACE6-D8F3BA630E14}" srcOrd="1" destOrd="0" presId="urn:microsoft.com/office/officeart/2005/8/layout/orgChart1"/>
    <dgm:cxn modelId="{40BEB627-F686-47F6-B59A-FFBA915E1CC3}" type="presParOf" srcId="{B6122BA3-354D-4FAB-89AA-4D6A193DB465}" destId="{A0F80E5E-6DEF-42F1-A475-8102D94CA6AD}" srcOrd="1" destOrd="0" presId="urn:microsoft.com/office/officeart/2005/8/layout/orgChart1"/>
    <dgm:cxn modelId="{AC12C5F4-37EE-4929-AB45-391E42E6D3A0}" type="presParOf" srcId="{B6122BA3-354D-4FAB-89AA-4D6A193DB465}" destId="{BA336244-C01D-456C-B608-6BB85E656AE7}" srcOrd="2" destOrd="0" presId="urn:microsoft.com/office/officeart/2005/8/layout/orgChart1"/>
    <dgm:cxn modelId="{BE04363B-B2B7-4110-B212-547678047DCC}" type="presParOf" srcId="{B3767120-1D84-4CBF-A42A-7963C47D4D0B}" destId="{3328B508-85C9-40F6-9185-8180C7701126}" srcOrd="10" destOrd="0" presId="urn:microsoft.com/office/officeart/2005/8/layout/orgChart1"/>
    <dgm:cxn modelId="{AF529AFF-15CA-43BC-952D-4B9AC82951D9}" type="presParOf" srcId="{B3767120-1D84-4CBF-A42A-7963C47D4D0B}" destId="{CBFE777F-B0CC-43EC-B3FD-0D93D5B0EAB2}" srcOrd="11" destOrd="0" presId="urn:microsoft.com/office/officeart/2005/8/layout/orgChart1"/>
    <dgm:cxn modelId="{236AD5B6-D329-438C-B7BA-4E96EF0BF704}" type="presParOf" srcId="{CBFE777F-B0CC-43EC-B3FD-0D93D5B0EAB2}" destId="{70218E99-DE78-4986-A623-C98C96D6E265}" srcOrd="0" destOrd="0" presId="urn:microsoft.com/office/officeart/2005/8/layout/orgChart1"/>
    <dgm:cxn modelId="{E9C6C527-AECA-43F1-8CEF-1477E7598F85}" type="presParOf" srcId="{70218E99-DE78-4986-A623-C98C96D6E265}" destId="{8F7B87B7-5054-4628-BAC8-8537DE0CCE45}" srcOrd="0" destOrd="0" presId="urn:microsoft.com/office/officeart/2005/8/layout/orgChart1"/>
    <dgm:cxn modelId="{C7E166F8-24DE-44C5-B1A5-C1976B5A6AE2}" type="presParOf" srcId="{70218E99-DE78-4986-A623-C98C96D6E265}" destId="{D61AA0A1-C51C-464A-B166-25EF83B252CF}" srcOrd="1" destOrd="0" presId="urn:microsoft.com/office/officeart/2005/8/layout/orgChart1"/>
    <dgm:cxn modelId="{E4654F3B-9736-4AAC-A6F1-A6991F7E462C}" type="presParOf" srcId="{CBFE777F-B0CC-43EC-B3FD-0D93D5B0EAB2}" destId="{C54A06DB-D12C-4F72-93F5-EDC0F407A7E4}" srcOrd="1" destOrd="0" presId="urn:microsoft.com/office/officeart/2005/8/layout/orgChart1"/>
    <dgm:cxn modelId="{D01CFB12-4ADF-48C4-B4F9-16874C65EC43}" type="presParOf" srcId="{CBFE777F-B0CC-43EC-B3FD-0D93D5B0EAB2}" destId="{E0B5B1C4-8882-4F07-BA4B-DA0932204C61}" srcOrd="2" destOrd="0" presId="urn:microsoft.com/office/officeart/2005/8/layout/orgChart1"/>
    <dgm:cxn modelId="{D349F93C-1CAC-4159-92F6-B5855C3CC5F9}" type="presParOf" srcId="{E0B5B1C4-8882-4F07-BA4B-DA0932204C61}" destId="{1818E30B-B547-4E0E-BC86-69545FA8ADC9}" srcOrd="0" destOrd="0" presId="urn:microsoft.com/office/officeart/2005/8/layout/orgChart1"/>
    <dgm:cxn modelId="{1C7BAD6F-EB67-4062-B8FA-B0ECB03DF69F}" type="presParOf" srcId="{E0B5B1C4-8882-4F07-BA4B-DA0932204C61}" destId="{BE8E51CB-A712-4A81-911A-B5DFC23087C4}" srcOrd="1" destOrd="0" presId="urn:microsoft.com/office/officeart/2005/8/layout/orgChart1"/>
    <dgm:cxn modelId="{E49D9F25-A831-4DD7-BCE8-CCD57BC6BE40}" type="presParOf" srcId="{BE8E51CB-A712-4A81-911A-B5DFC23087C4}" destId="{97FF65EE-DF2F-4F70-8B15-5138448E519E}" srcOrd="0" destOrd="0" presId="urn:microsoft.com/office/officeart/2005/8/layout/orgChart1"/>
    <dgm:cxn modelId="{B861C31E-66DA-41E8-ABED-634F3A5F2FB8}" type="presParOf" srcId="{97FF65EE-DF2F-4F70-8B15-5138448E519E}" destId="{08366D94-90F2-4C2C-AE28-E772A8984FA4}" srcOrd="0" destOrd="0" presId="urn:microsoft.com/office/officeart/2005/8/layout/orgChart1"/>
    <dgm:cxn modelId="{DFB91718-8853-4353-88B6-2557CB3DC8AF}" type="presParOf" srcId="{97FF65EE-DF2F-4F70-8B15-5138448E519E}" destId="{A373176A-71B9-4DF1-81D6-ACC84D9C7534}" srcOrd="1" destOrd="0" presId="urn:microsoft.com/office/officeart/2005/8/layout/orgChart1"/>
    <dgm:cxn modelId="{C74B8E15-631D-4ABF-84E5-386B5E4FB98E}" type="presParOf" srcId="{BE8E51CB-A712-4A81-911A-B5DFC23087C4}" destId="{33984155-CA50-40C7-B0BA-F1BA5609F06D}" srcOrd="1" destOrd="0" presId="urn:microsoft.com/office/officeart/2005/8/layout/orgChart1"/>
    <dgm:cxn modelId="{0D105B93-4FF6-40B0-8C1D-494A0A539AF6}" type="presParOf" srcId="{BE8E51CB-A712-4A81-911A-B5DFC23087C4}" destId="{06ECBFB7-6C78-4EB8-828E-D6AC586D2169}" srcOrd="2" destOrd="0" presId="urn:microsoft.com/office/officeart/2005/8/layout/orgChart1"/>
    <dgm:cxn modelId="{D7D51332-AAD0-4813-A5F0-BC63791EFC39}" type="presParOf" srcId="{E0B5B1C4-8882-4F07-BA4B-DA0932204C61}" destId="{02E30223-5A85-4CD9-B03E-A6B5D0EFBA44}" srcOrd="2" destOrd="0" presId="urn:microsoft.com/office/officeart/2005/8/layout/orgChart1"/>
    <dgm:cxn modelId="{F5EE463C-A5C3-4C5B-900A-EBDEEE9FC3FA}" type="presParOf" srcId="{E0B5B1C4-8882-4F07-BA4B-DA0932204C61}" destId="{05048C6B-376C-41CB-9C9A-583F276A0CBA}" srcOrd="3" destOrd="0" presId="urn:microsoft.com/office/officeart/2005/8/layout/orgChart1"/>
    <dgm:cxn modelId="{3EA9230F-066E-4759-89D4-8898B3BD3245}" type="presParOf" srcId="{05048C6B-376C-41CB-9C9A-583F276A0CBA}" destId="{2B71A75A-E482-419C-ACC0-94C1CA9AC202}" srcOrd="0" destOrd="0" presId="urn:microsoft.com/office/officeart/2005/8/layout/orgChart1"/>
    <dgm:cxn modelId="{F0A11B1C-5390-4558-AF7B-0D1EE9EF099F}" type="presParOf" srcId="{2B71A75A-E482-419C-ACC0-94C1CA9AC202}" destId="{7EF34FFA-702D-4DB0-9B61-4E21BA57A82D}" srcOrd="0" destOrd="0" presId="urn:microsoft.com/office/officeart/2005/8/layout/orgChart1"/>
    <dgm:cxn modelId="{031406CB-ECA2-4DD3-B728-AE97A0CEA43A}" type="presParOf" srcId="{2B71A75A-E482-419C-ACC0-94C1CA9AC202}" destId="{E7761F98-2E0E-4279-9A33-1D2E50C44278}" srcOrd="1" destOrd="0" presId="urn:microsoft.com/office/officeart/2005/8/layout/orgChart1"/>
    <dgm:cxn modelId="{6CE19A7F-E39C-4E01-B4B9-FBD967AEA69F}" type="presParOf" srcId="{05048C6B-376C-41CB-9C9A-583F276A0CBA}" destId="{90EEF990-3B48-41FA-A052-A1EF6D5ACBB8}" srcOrd="1" destOrd="0" presId="urn:microsoft.com/office/officeart/2005/8/layout/orgChart1"/>
    <dgm:cxn modelId="{98431879-433F-4195-9089-1938C6C3305C}" type="presParOf" srcId="{05048C6B-376C-41CB-9C9A-583F276A0CBA}" destId="{A4693D4C-441A-44CF-9AE1-AEA5ED5F37A0}" srcOrd="2" destOrd="0" presId="urn:microsoft.com/office/officeart/2005/8/layout/orgChart1"/>
    <dgm:cxn modelId="{1E71A5A3-B1BE-4BB1-9ABC-D89B0CC6F657}" type="presParOf" srcId="{E0B5B1C4-8882-4F07-BA4B-DA0932204C61}" destId="{A29F64E9-56D4-48E1-B45D-0767B368A36B}" srcOrd="4" destOrd="0" presId="urn:microsoft.com/office/officeart/2005/8/layout/orgChart1"/>
    <dgm:cxn modelId="{B0D75CC7-D60F-40CC-A3D7-EEECFC558640}" type="presParOf" srcId="{E0B5B1C4-8882-4F07-BA4B-DA0932204C61}" destId="{69698EE3-AFE4-4006-9DE4-51FCF4FCAAB6}" srcOrd="5" destOrd="0" presId="urn:microsoft.com/office/officeart/2005/8/layout/orgChart1"/>
    <dgm:cxn modelId="{F25DE6BA-286C-41E8-9D0C-D0C3386B917B}" type="presParOf" srcId="{69698EE3-AFE4-4006-9DE4-51FCF4FCAAB6}" destId="{492FA8FE-1C3B-4208-8FAD-6706A91D3498}" srcOrd="0" destOrd="0" presId="urn:microsoft.com/office/officeart/2005/8/layout/orgChart1"/>
    <dgm:cxn modelId="{C8C02AF9-CD91-481D-B8B0-FE6C69112B5C}" type="presParOf" srcId="{492FA8FE-1C3B-4208-8FAD-6706A91D3498}" destId="{B0B71652-D417-4B39-8926-29C7507EDDDF}" srcOrd="0" destOrd="0" presId="urn:microsoft.com/office/officeart/2005/8/layout/orgChart1"/>
    <dgm:cxn modelId="{A0B10B2A-B634-42BB-8B07-2A7BF0CBCE40}" type="presParOf" srcId="{492FA8FE-1C3B-4208-8FAD-6706A91D3498}" destId="{BE46691D-0E12-4E8D-AA21-5808DDE1DA36}" srcOrd="1" destOrd="0" presId="urn:microsoft.com/office/officeart/2005/8/layout/orgChart1"/>
    <dgm:cxn modelId="{9266E280-2260-49A1-AF73-0FFC1DBFF5D2}" type="presParOf" srcId="{69698EE3-AFE4-4006-9DE4-51FCF4FCAAB6}" destId="{6344A3B2-F4A6-4A70-9667-90E648E4754D}" srcOrd="1" destOrd="0" presId="urn:microsoft.com/office/officeart/2005/8/layout/orgChart1"/>
    <dgm:cxn modelId="{B5CA483A-17F1-4312-AB28-F81AE214974C}" type="presParOf" srcId="{69698EE3-AFE4-4006-9DE4-51FCF4FCAAB6}" destId="{092FE906-76DC-43F5-BC80-920B10CC1A31}" srcOrd="2" destOrd="0" presId="urn:microsoft.com/office/officeart/2005/8/layout/orgChart1"/>
    <dgm:cxn modelId="{DD998353-9935-4802-B8D0-5F4F7F404FC5}" type="presParOf" srcId="{E0B5B1C4-8882-4F07-BA4B-DA0932204C61}" destId="{6B4A4395-F74A-476F-A46C-78057DB34BE5}" srcOrd="6" destOrd="0" presId="urn:microsoft.com/office/officeart/2005/8/layout/orgChart1"/>
    <dgm:cxn modelId="{E2A0910D-67A9-4A4E-9AAC-81EA559075C3}" type="presParOf" srcId="{E0B5B1C4-8882-4F07-BA4B-DA0932204C61}" destId="{5AFE6B00-2CB1-4586-9B1C-76533C055C67}" srcOrd="7" destOrd="0" presId="urn:microsoft.com/office/officeart/2005/8/layout/orgChart1"/>
    <dgm:cxn modelId="{19AF7C67-D67B-47B5-B2C1-2D2FFC357325}" type="presParOf" srcId="{5AFE6B00-2CB1-4586-9B1C-76533C055C67}" destId="{4721D353-F3A9-46F0-BCFD-9A03B4B85140}" srcOrd="0" destOrd="0" presId="urn:microsoft.com/office/officeart/2005/8/layout/orgChart1"/>
    <dgm:cxn modelId="{CD09841B-1CAE-4515-AF06-BC249CBA08F8}" type="presParOf" srcId="{4721D353-F3A9-46F0-BCFD-9A03B4B85140}" destId="{0297E07F-E6E4-4FE6-BBA5-DC0CC00808D5}" srcOrd="0" destOrd="0" presId="urn:microsoft.com/office/officeart/2005/8/layout/orgChart1"/>
    <dgm:cxn modelId="{6315D138-3292-457C-B7D0-6B3C00B6050C}" type="presParOf" srcId="{4721D353-F3A9-46F0-BCFD-9A03B4B85140}" destId="{24740746-8B45-477C-93F8-D11AC2418482}" srcOrd="1" destOrd="0" presId="urn:microsoft.com/office/officeart/2005/8/layout/orgChart1"/>
    <dgm:cxn modelId="{4DC7D032-F083-4BA7-B557-88CCFF5AEC48}" type="presParOf" srcId="{5AFE6B00-2CB1-4586-9B1C-76533C055C67}" destId="{AEA8C672-EB39-4BEC-9821-506CFDCA1D4F}" srcOrd="1" destOrd="0" presId="urn:microsoft.com/office/officeart/2005/8/layout/orgChart1"/>
    <dgm:cxn modelId="{E005EB6C-D2D9-4FB4-BC3D-6E8B33C53E00}" type="presParOf" srcId="{5AFE6B00-2CB1-4586-9B1C-76533C055C67}" destId="{803A49B0-8E1E-4DD8-A1B1-664F260BE53D}" srcOrd="2" destOrd="0" presId="urn:microsoft.com/office/officeart/2005/8/layout/orgChart1"/>
    <dgm:cxn modelId="{E45A6004-174E-40A2-A043-05F2711ACC5B}" type="presParOf" srcId="{B3767120-1D84-4CBF-A42A-7963C47D4D0B}" destId="{AA102BDE-8111-4E1A-B595-31AA990E77C0}" srcOrd="12" destOrd="0" presId="urn:microsoft.com/office/officeart/2005/8/layout/orgChart1"/>
    <dgm:cxn modelId="{FC09AD31-2467-4D79-A52E-B345C4CC8C14}" type="presParOf" srcId="{B3767120-1D84-4CBF-A42A-7963C47D4D0B}" destId="{749294D3-585C-4B4F-969C-71DA7BCCDB93}" srcOrd="13" destOrd="0" presId="urn:microsoft.com/office/officeart/2005/8/layout/orgChart1"/>
    <dgm:cxn modelId="{B2FFD61B-09AB-49EA-9278-8FAC23DCA501}" type="presParOf" srcId="{749294D3-585C-4B4F-969C-71DA7BCCDB93}" destId="{C3BABD2E-F81B-4AB3-A309-C061118052C2}" srcOrd="0" destOrd="0" presId="urn:microsoft.com/office/officeart/2005/8/layout/orgChart1"/>
    <dgm:cxn modelId="{5AFF5181-BDC2-4764-B0B9-73FCA136475A}" type="presParOf" srcId="{C3BABD2E-F81B-4AB3-A309-C061118052C2}" destId="{ADCC68CE-4990-407B-B82B-33554245CA83}" srcOrd="0" destOrd="0" presId="urn:microsoft.com/office/officeart/2005/8/layout/orgChart1"/>
    <dgm:cxn modelId="{804049B1-07AB-4B64-B052-AAC0BABE3C92}" type="presParOf" srcId="{C3BABD2E-F81B-4AB3-A309-C061118052C2}" destId="{7A9B6E0B-8360-4998-9411-5CED131D7CC5}" srcOrd="1" destOrd="0" presId="urn:microsoft.com/office/officeart/2005/8/layout/orgChart1"/>
    <dgm:cxn modelId="{F36E2754-55D4-4BAD-BD8E-B6F502CDAB7E}" type="presParOf" srcId="{749294D3-585C-4B4F-969C-71DA7BCCDB93}" destId="{F2747D76-DFD3-493F-81F8-83FDD80581AE}" srcOrd="1" destOrd="0" presId="urn:microsoft.com/office/officeart/2005/8/layout/orgChart1"/>
    <dgm:cxn modelId="{ABFE97AA-A9DB-4BA9-94B8-79C9302005D7}" type="presParOf" srcId="{749294D3-585C-4B4F-969C-71DA7BCCDB93}" destId="{A32ED941-9CDD-4C49-9410-1C5698676052}" srcOrd="2" destOrd="0" presId="urn:microsoft.com/office/officeart/2005/8/layout/orgChart1"/>
    <dgm:cxn modelId="{6A7997BC-7BFF-4426-B28C-57FE3D184C70}" type="presParOf" srcId="{A32ED941-9CDD-4C49-9410-1C5698676052}" destId="{E2DD938D-BE61-4C37-A14B-5EE1F1104841}" srcOrd="0" destOrd="0" presId="urn:microsoft.com/office/officeart/2005/8/layout/orgChart1"/>
    <dgm:cxn modelId="{DB15948E-A810-4488-90FE-2DE0F6E702A0}" type="presParOf" srcId="{A32ED941-9CDD-4C49-9410-1C5698676052}" destId="{05795BFE-E9E7-40C6-9C4B-B384318D0645}" srcOrd="1" destOrd="0" presId="urn:microsoft.com/office/officeart/2005/8/layout/orgChart1"/>
    <dgm:cxn modelId="{70D50383-171A-4185-A811-977F2DC08329}" type="presParOf" srcId="{05795BFE-E9E7-40C6-9C4B-B384318D0645}" destId="{91ACB31F-6D41-4B04-BFB7-062AA187BE1E}" srcOrd="0" destOrd="0" presId="urn:microsoft.com/office/officeart/2005/8/layout/orgChart1"/>
    <dgm:cxn modelId="{8C9E0FD4-2A1F-4636-ADB8-2ADD2D6DC61B}" type="presParOf" srcId="{91ACB31F-6D41-4B04-BFB7-062AA187BE1E}" destId="{B12D8A1A-16D4-43E3-9B1E-FDB641DABC70}" srcOrd="0" destOrd="0" presId="urn:microsoft.com/office/officeart/2005/8/layout/orgChart1"/>
    <dgm:cxn modelId="{20E79312-23D3-47B9-8E19-F00EBFEAEFC0}" type="presParOf" srcId="{91ACB31F-6D41-4B04-BFB7-062AA187BE1E}" destId="{EF8388D9-A0BD-476E-B787-DEC3E750A279}" srcOrd="1" destOrd="0" presId="urn:microsoft.com/office/officeart/2005/8/layout/orgChart1"/>
    <dgm:cxn modelId="{EE7C2AAE-2B13-4554-86F8-DE47B854E512}" type="presParOf" srcId="{05795BFE-E9E7-40C6-9C4B-B384318D0645}" destId="{A035A678-BFD5-4AE9-BD8D-C1A9D0FD374C}" srcOrd="1" destOrd="0" presId="urn:microsoft.com/office/officeart/2005/8/layout/orgChart1"/>
    <dgm:cxn modelId="{0636187E-202C-4B01-86D3-0631C2D4FB02}" type="presParOf" srcId="{05795BFE-E9E7-40C6-9C4B-B384318D0645}" destId="{68164A26-A7E3-4E13-9AF9-96AD268C70B2}" srcOrd="2" destOrd="0" presId="urn:microsoft.com/office/officeart/2005/8/layout/orgChart1"/>
    <dgm:cxn modelId="{0423C8F9-6B69-4EA1-88D5-C68295797CCE}" type="presParOf" srcId="{A32ED941-9CDD-4C49-9410-1C5698676052}" destId="{DF095356-8FD5-4CF9-AD53-34627F5EA4EE}" srcOrd="2" destOrd="0" presId="urn:microsoft.com/office/officeart/2005/8/layout/orgChart1"/>
    <dgm:cxn modelId="{0BA26225-23D0-4551-9FE2-36B082A25D17}" type="presParOf" srcId="{A32ED941-9CDD-4C49-9410-1C5698676052}" destId="{AF4C687F-ED9E-4914-94E2-8D345F11A568}" srcOrd="3" destOrd="0" presId="urn:microsoft.com/office/officeart/2005/8/layout/orgChart1"/>
    <dgm:cxn modelId="{43ACE40C-768D-440F-B324-A3B09C4A27BC}" type="presParOf" srcId="{AF4C687F-ED9E-4914-94E2-8D345F11A568}" destId="{BC6500C4-09B6-4B24-8FEA-8F50FD870790}" srcOrd="0" destOrd="0" presId="urn:microsoft.com/office/officeart/2005/8/layout/orgChart1"/>
    <dgm:cxn modelId="{999ACC0B-3D3B-4138-B6AC-E8AD6AF05EB7}" type="presParOf" srcId="{BC6500C4-09B6-4B24-8FEA-8F50FD870790}" destId="{89042E41-6C64-4664-9969-1787091C1D21}" srcOrd="0" destOrd="0" presId="urn:microsoft.com/office/officeart/2005/8/layout/orgChart1"/>
    <dgm:cxn modelId="{8ED40706-4EB6-4D42-8271-48A01DC24294}" type="presParOf" srcId="{BC6500C4-09B6-4B24-8FEA-8F50FD870790}" destId="{6D45D1F5-DF94-4341-B1A7-67860100A99A}" srcOrd="1" destOrd="0" presId="urn:microsoft.com/office/officeart/2005/8/layout/orgChart1"/>
    <dgm:cxn modelId="{ABB3605C-F72C-425D-AE81-E88D8EE699E5}" type="presParOf" srcId="{AF4C687F-ED9E-4914-94E2-8D345F11A568}" destId="{F7D58E2D-2053-4831-8B57-7232E3359546}" srcOrd="1" destOrd="0" presId="urn:microsoft.com/office/officeart/2005/8/layout/orgChart1"/>
    <dgm:cxn modelId="{AFF0ECB5-C46A-41B4-872A-83852348FF78}" type="presParOf" srcId="{AF4C687F-ED9E-4914-94E2-8D345F11A568}" destId="{450A1B6A-D1EB-4512-BD6E-8939D9A4C260}" srcOrd="2" destOrd="0" presId="urn:microsoft.com/office/officeart/2005/8/layout/orgChart1"/>
    <dgm:cxn modelId="{63999A6F-E262-456E-AF6A-830B280B74A9}" type="presParOf" srcId="{ADF78B51-FF65-46D3-95B4-403BD752DD8A}" destId="{A01BFD0A-DF36-4B6D-9BA0-3A05A52ED7B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AEB5C877-C77B-47BD-825A-482B3EB5DF5F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D030A46-7792-4815-B57B-046A07F0140A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dirty="0">
              <a:solidFill>
                <a:schemeClr val="bg1"/>
              </a:solidFill>
            </a:rPr>
            <a:t>VP Facilities</a:t>
          </a:r>
        </a:p>
        <a:p>
          <a:r>
            <a:rPr lang="en-US" sz="900" b="1" dirty="0">
              <a:solidFill>
                <a:schemeClr val="bg1"/>
              </a:solidFill>
            </a:rPr>
            <a:t>Tom Samra </a:t>
          </a:r>
        </a:p>
      </dgm:t>
    </dgm:pt>
    <dgm:pt modelId="{93793C77-22A1-4452-AA5B-CD75C3A2088D}" type="parTrans" cxnId="{39718F2F-F1BB-4543-94B9-E375F01D123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3F7F991-0E15-4B2C-9412-38FC07AC3355}" type="sibTrans" cxnId="{39718F2F-F1BB-4543-94B9-E375F01D1237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C4171510-A219-4D73-ABD0-9340201AB08B}">
      <dgm:prSet phldrT="[Text]" custT="1"/>
      <dgm:spPr>
        <a:solidFill>
          <a:schemeClr val="accent6">
            <a:lumMod val="75000"/>
          </a:schemeClr>
        </a:solidFill>
        <a:ln w="28575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VP Transportation Strategy</a:t>
          </a:r>
        </a:p>
        <a:p>
          <a:r>
            <a:rPr lang="en-US" sz="900" b="1" dirty="0">
              <a:solidFill>
                <a:schemeClr val="bg1"/>
              </a:solidFill>
            </a:rPr>
            <a:t>Peter Routsolias</a:t>
          </a:r>
        </a:p>
      </dgm:t>
    </dgm:pt>
    <dgm:pt modelId="{C596D3E0-CF1C-4186-873C-266C0BDDA405}" type="parTrans" cxnId="{0C7711AA-3347-45A2-BD1F-7A8F83B66F66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55F7E4BD-CE46-4672-9F79-FC039A5ADB47}" type="sibTrans" cxnId="{0C7711AA-3347-45A2-BD1F-7A8F83B66F66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25AF2A20-742B-4B54-82EE-1A36C3C1A1C1}">
      <dgm:prSet phldrT="[Text]" custT="1"/>
      <dgm:spPr>
        <a:solidFill>
          <a:schemeClr val="accent6">
            <a:lumMod val="75000"/>
          </a:schemeClr>
        </a:solidFill>
        <a:ln w="38100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VP Business Solutions</a:t>
          </a:r>
        </a:p>
        <a:p>
          <a:r>
            <a:rPr lang="en-US" sz="900" b="1" dirty="0">
              <a:solidFill>
                <a:schemeClr val="bg1"/>
              </a:solidFill>
            </a:rPr>
            <a:t>VACANT </a:t>
          </a:r>
        </a:p>
      </dgm:t>
    </dgm:pt>
    <dgm:pt modelId="{DD5605C9-86D4-46AB-815E-97791D76E890}" type="parTrans" cxnId="{DDE97A23-B107-4301-843B-9FAB7A3824CE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DB2CF243-4E5E-43F5-BC45-86118435809D}" type="sibTrans" cxnId="{DDE97A23-B107-4301-843B-9FAB7A3824CE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735E0ECF-1473-4459-9782-B3BFD89D844B}">
      <dgm:prSet phldrT="[Text]" custT="1"/>
      <dgm:spPr>
        <a:solidFill>
          <a:schemeClr val="accent1">
            <a:lumMod val="75000"/>
          </a:schemeClr>
        </a:solidFill>
        <a:ln w="28575">
          <a:noFill/>
          <a:prstDash val="sysDot"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Chief Commerce &amp; Business Solutions Officer</a:t>
          </a:r>
        </a:p>
        <a:p>
          <a:r>
            <a:rPr lang="en-US" sz="900" b="1" dirty="0">
              <a:solidFill>
                <a:schemeClr val="bg1"/>
              </a:solidFill>
            </a:rPr>
            <a:t>Jakki Krage Strako</a:t>
          </a:r>
        </a:p>
      </dgm:t>
    </dgm:pt>
    <dgm:pt modelId="{90F12E4B-19E3-4560-90AB-454891BF7004}" type="parTrans" cxnId="{D9E37111-B8E5-4806-AAD1-7B9FA8B19E12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ACF038FB-1CE1-4A98-8F2E-9A6C83F1B13E}" type="sibTrans" cxnId="{D9E37111-B8E5-4806-AAD1-7B9FA8B19E12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D9AFF782-FE71-42BB-99D0-C8D65EEC9AB8}">
      <dgm:prSet phldrT="[Text]" custT="1"/>
      <dgm:spPr>
        <a:solidFill>
          <a:schemeClr val="accent6">
            <a:lumMod val="75000"/>
          </a:schemeClr>
        </a:solidFill>
        <a:ln w="38100"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en-US" sz="900" b="0" dirty="0">
              <a:solidFill>
                <a:schemeClr val="bg1"/>
              </a:solidFill>
            </a:rPr>
            <a:t>VP Business Development</a:t>
          </a:r>
        </a:p>
        <a:p>
          <a:r>
            <a:rPr lang="en-US" sz="900" b="1" dirty="0">
              <a:solidFill>
                <a:schemeClr val="bg1"/>
              </a:solidFill>
            </a:rPr>
            <a:t>VACANT</a:t>
          </a:r>
        </a:p>
      </dgm:t>
    </dgm:pt>
    <dgm:pt modelId="{CC20C97E-EFDD-4A67-821C-3B85E1B7A98A}" type="parTrans" cxnId="{180A7198-8CF4-4565-9B33-A7FE4FD6A189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9D23B64F-CF42-49F8-8317-84814164169C}" type="sibTrans" cxnId="{180A7198-8CF4-4565-9B33-A7FE4FD6A189}">
      <dgm:prSet/>
      <dgm:spPr/>
      <dgm:t>
        <a:bodyPr/>
        <a:lstStyle/>
        <a:p>
          <a:endParaRPr lang="en-US" sz="900">
            <a:solidFill>
              <a:sysClr val="windowText" lastClr="000000"/>
            </a:solidFill>
          </a:endParaRPr>
        </a:p>
      </dgm:t>
    </dgm:pt>
    <dgm:pt modelId="{008A9A80-BD13-446C-833B-2B197FFBA9AB}" type="pres">
      <dgm:prSet presAssocID="{AEB5C877-C77B-47BD-825A-482B3EB5DF5F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ADF78B51-FF65-46D3-95B4-403BD752DD8A}" type="pres">
      <dgm:prSet presAssocID="{735E0ECF-1473-4459-9782-B3BFD89D844B}" presName="hierRoot1" presStyleCnt="0">
        <dgm:presLayoutVars>
          <dgm:hierBranch val="init"/>
        </dgm:presLayoutVars>
      </dgm:prSet>
      <dgm:spPr/>
    </dgm:pt>
    <dgm:pt modelId="{D1481A51-9A8E-4E3F-ACFE-BBFBAA069003}" type="pres">
      <dgm:prSet presAssocID="{735E0ECF-1473-4459-9782-B3BFD89D844B}" presName="rootComposite1" presStyleCnt="0"/>
      <dgm:spPr/>
    </dgm:pt>
    <dgm:pt modelId="{608CB659-20FB-4FD5-BD59-4EDC1CFD706A}" type="pres">
      <dgm:prSet presAssocID="{735E0ECF-1473-4459-9782-B3BFD89D844B}" presName="rootText1" presStyleLbl="node0" presStyleIdx="0" presStyleCnt="1" custScaleX="127346" custScaleY="123637">
        <dgm:presLayoutVars>
          <dgm:chPref val="3"/>
        </dgm:presLayoutVars>
      </dgm:prSet>
      <dgm:spPr/>
    </dgm:pt>
    <dgm:pt modelId="{663788D1-3B8C-4438-98A1-293F772704C9}" type="pres">
      <dgm:prSet presAssocID="{735E0ECF-1473-4459-9782-B3BFD89D844B}" presName="rootConnector1" presStyleLbl="node1" presStyleIdx="0" presStyleCnt="0"/>
      <dgm:spPr/>
    </dgm:pt>
    <dgm:pt modelId="{B3767120-1D84-4CBF-A42A-7963C47D4D0B}" type="pres">
      <dgm:prSet presAssocID="{735E0ECF-1473-4459-9782-B3BFD89D844B}" presName="hierChild2" presStyleCnt="0"/>
      <dgm:spPr/>
    </dgm:pt>
    <dgm:pt modelId="{AA2C4414-7EF3-4BAE-A19E-E52D628B3FAE}" type="pres">
      <dgm:prSet presAssocID="{93793C77-22A1-4452-AA5B-CD75C3A2088D}" presName="Name37" presStyleLbl="parChTrans1D2" presStyleIdx="0" presStyleCnt="4"/>
      <dgm:spPr/>
    </dgm:pt>
    <dgm:pt modelId="{6387B0E3-D0C5-444F-9B93-1D720208E895}" type="pres">
      <dgm:prSet presAssocID="{5D030A46-7792-4815-B57B-046A07F0140A}" presName="hierRoot2" presStyleCnt="0">
        <dgm:presLayoutVars>
          <dgm:hierBranch val="hang"/>
        </dgm:presLayoutVars>
      </dgm:prSet>
      <dgm:spPr/>
    </dgm:pt>
    <dgm:pt modelId="{12FC5992-2B6A-4B44-9993-4ACF04F605A0}" type="pres">
      <dgm:prSet presAssocID="{5D030A46-7792-4815-B57B-046A07F0140A}" presName="rootComposite" presStyleCnt="0"/>
      <dgm:spPr/>
    </dgm:pt>
    <dgm:pt modelId="{AC5FF851-1189-4F95-8351-A97A476B2246}" type="pres">
      <dgm:prSet presAssocID="{5D030A46-7792-4815-B57B-046A07F0140A}" presName="rootText" presStyleLbl="node2" presStyleIdx="0" presStyleCnt="4">
        <dgm:presLayoutVars>
          <dgm:chPref val="3"/>
        </dgm:presLayoutVars>
      </dgm:prSet>
      <dgm:spPr/>
    </dgm:pt>
    <dgm:pt modelId="{2FD465CE-D641-4F07-9394-155CB7FBF3F3}" type="pres">
      <dgm:prSet presAssocID="{5D030A46-7792-4815-B57B-046A07F0140A}" presName="rootConnector" presStyleLbl="node2" presStyleIdx="0" presStyleCnt="4"/>
      <dgm:spPr/>
    </dgm:pt>
    <dgm:pt modelId="{C59FB238-8008-4F2B-BC0E-E3651B88BA6C}" type="pres">
      <dgm:prSet presAssocID="{5D030A46-7792-4815-B57B-046A07F0140A}" presName="hierChild4" presStyleCnt="0"/>
      <dgm:spPr/>
    </dgm:pt>
    <dgm:pt modelId="{8349AF55-683F-4F61-A046-C0C13CC76D05}" type="pres">
      <dgm:prSet presAssocID="{5D030A46-7792-4815-B57B-046A07F0140A}" presName="hierChild5" presStyleCnt="0"/>
      <dgm:spPr/>
    </dgm:pt>
    <dgm:pt modelId="{2D62CCC2-632D-47CD-A6FB-AF9328D9C4C3}" type="pres">
      <dgm:prSet presAssocID="{C596D3E0-CF1C-4186-873C-266C0BDDA405}" presName="Name37" presStyleLbl="parChTrans1D2" presStyleIdx="1" presStyleCnt="4"/>
      <dgm:spPr/>
    </dgm:pt>
    <dgm:pt modelId="{DFA3A91B-E297-4234-BFEC-E07215C4A4F0}" type="pres">
      <dgm:prSet presAssocID="{C4171510-A219-4D73-ABD0-9340201AB08B}" presName="hierRoot2" presStyleCnt="0">
        <dgm:presLayoutVars>
          <dgm:hierBranch val="hang"/>
        </dgm:presLayoutVars>
      </dgm:prSet>
      <dgm:spPr/>
    </dgm:pt>
    <dgm:pt modelId="{09E9B259-37C6-4DAC-B977-55FDCFAE76AB}" type="pres">
      <dgm:prSet presAssocID="{C4171510-A219-4D73-ABD0-9340201AB08B}" presName="rootComposite" presStyleCnt="0"/>
      <dgm:spPr/>
    </dgm:pt>
    <dgm:pt modelId="{43FE5B09-28AC-4B39-BFE9-1C78BB5E9846}" type="pres">
      <dgm:prSet presAssocID="{C4171510-A219-4D73-ABD0-9340201AB08B}" presName="rootText" presStyleLbl="node2" presStyleIdx="1" presStyleCnt="4">
        <dgm:presLayoutVars>
          <dgm:chPref val="3"/>
        </dgm:presLayoutVars>
      </dgm:prSet>
      <dgm:spPr/>
    </dgm:pt>
    <dgm:pt modelId="{71D9930B-3E8E-46AF-9F9D-50C9E28A14EA}" type="pres">
      <dgm:prSet presAssocID="{C4171510-A219-4D73-ABD0-9340201AB08B}" presName="rootConnector" presStyleLbl="node2" presStyleIdx="1" presStyleCnt="4"/>
      <dgm:spPr/>
    </dgm:pt>
    <dgm:pt modelId="{CE602C07-2778-4BEB-9377-8EF46EEC3364}" type="pres">
      <dgm:prSet presAssocID="{C4171510-A219-4D73-ABD0-9340201AB08B}" presName="hierChild4" presStyleCnt="0"/>
      <dgm:spPr/>
    </dgm:pt>
    <dgm:pt modelId="{5BC729F7-A32A-4515-A574-DFBC30FDA19B}" type="pres">
      <dgm:prSet presAssocID="{C4171510-A219-4D73-ABD0-9340201AB08B}" presName="hierChild5" presStyleCnt="0"/>
      <dgm:spPr/>
    </dgm:pt>
    <dgm:pt modelId="{04B36B14-FDED-4614-BB74-97EE5BB8F52D}" type="pres">
      <dgm:prSet presAssocID="{DD5605C9-86D4-46AB-815E-97791D76E890}" presName="Name37" presStyleLbl="parChTrans1D2" presStyleIdx="2" presStyleCnt="4"/>
      <dgm:spPr/>
    </dgm:pt>
    <dgm:pt modelId="{106AC147-102C-49EA-AA5F-EF5284021786}" type="pres">
      <dgm:prSet presAssocID="{25AF2A20-742B-4B54-82EE-1A36C3C1A1C1}" presName="hierRoot2" presStyleCnt="0">
        <dgm:presLayoutVars>
          <dgm:hierBranch val="hang"/>
        </dgm:presLayoutVars>
      </dgm:prSet>
      <dgm:spPr/>
    </dgm:pt>
    <dgm:pt modelId="{A185BBF1-A3C4-4167-BD2D-01117B8865F1}" type="pres">
      <dgm:prSet presAssocID="{25AF2A20-742B-4B54-82EE-1A36C3C1A1C1}" presName="rootComposite" presStyleCnt="0"/>
      <dgm:spPr/>
    </dgm:pt>
    <dgm:pt modelId="{6F5EABE9-ADCF-4968-81B3-04689CB922B9}" type="pres">
      <dgm:prSet presAssocID="{25AF2A20-742B-4B54-82EE-1A36C3C1A1C1}" presName="rootText" presStyleLbl="node2" presStyleIdx="2" presStyleCnt="4">
        <dgm:presLayoutVars>
          <dgm:chPref val="3"/>
        </dgm:presLayoutVars>
      </dgm:prSet>
      <dgm:spPr/>
    </dgm:pt>
    <dgm:pt modelId="{492EE907-4099-4D6E-8EF8-4A500681DBF1}" type="pres">
      <dgm:prSet presAssocID="{25AF2A20-742B-4B54-82EE-1A36C3C1A1C1}" presName="rootConnector" presStyleLbl="node2" presStyleIdx="2" presStyleCnt="4"/>
      <dgm:spPr/>
    </dgm:pt>
    <dgm:pt modelId="{604BD7F7-0389-4ECB-B419-E102FB55CEAC}" type="pres">
      <dgm:prSet presAssocID="{25AF2A20-742B-4B54-82EE-1A36C3C1A1C1}" presName="hierChild4" presStyleCnt="0"/>
      <dgm:spPr/>
    </dgm:pt>
    <dgm:pt modelId="{DC47B5BE-0D25-4337-B97F-303E26D4FF58}" type="pres">
      <dgm:prSet presAssocID="{25AF2A20-742B-4B54-82EE-1A36C3C1A1C1}" presName="hierChild5" presStyleCnt="0"/>
      <dgm:spPr/>
    </dgm:pt>
    <dgm:pt modelId="{C52852C6-20B4-46A2-B6DA-5FE9764A5987}" type="pres">
      <dgm:prSet presAssocID="{CC20C97E-EFDD-4A67-821C-3B85E1B7A98A}" presName="Name37" presStyleLbl="parChTrans1D2" presStyleIdx="3" presStyleCnt="4"/>
      <dgm:spPr/>
    </dgm:pt>
    <dgm:pt modelId="{B608C61A-120B-4251-B9EB-E7EDC8273B6F}" type="pres">
      <dgm:prSet presAssocID="{D9AFF782-FE71-42BB-99D0-C8D65EEC9AB8}" presName="hierRoot2" presStyleCnt="0">
        <dgm:presLayoutVars>
          <dgm:hierBranch val="hang"/>
        </dgm:presLayoutVars>
      </dgm:prSet>
      <dgm:spPr/>
    </dgm:pt>
    <dgm:pt modelId="{6DEDE116-3EA2-4404-BA72-3E63AF293AAD}" type="pres">
      <dgm:prSet presAssocID="{D9AFF782-FE71-42BB-99D0-C8D65EEC9AB8}" presName="rootComposite" presStyleCnt="0"/>
      <dgm:spPr/>
    </dgm:pt>
    <dgm:pt modelId="{93A91F1D-7D22-4985-85A0-25585DC5988D}" type="pres">
      <dgm:prSet presAssocID="{D9AFF782-FE71-42BB-99D0-C8D65EEC9AB8}" presName="rootText" presStyleLbl="node2" presStyleIdx="3" presStyleCnt="4">
        <dgm:presLayoutVars>
          <dgm:chPref val="3"/>
        </dgm:presLayoutVars>
      </dgm:prSet>
      <dgm:spPr/>
    </dgm:pt>
    <dgm:pt modelId="{C6591505-D2DB-4716-ADD2-239A1C546601}" type="pres">
      <dgm:prSet presAssocID="{D9AFF782-FE71-42BB-99D0-C8D65EEC9AB8}" presName="rootConnector" presStyleLbl="node2" presStyleIdx="3" presStyleCnt="4"/>
      <dgm:spPr/>
    </dgm:pt>
    <dgm:pt modelId="{938C0902-ABBE-4EAB-8859-4C995FBF347B}" type="pres">
      <dgm:prSet presAssocID="{D9AFF782-FE71-42BB-99D0-C8D65EEC9AB8}" presName="hierChild4" presStyleCnt="0"/>
      <dgm:spPr/>
    </dgm:pt>
    <dgm:pt modelId="{2FE1CF98-76D1-4570-9A8A-D319916AAC7F}" type="pres">
      <dgm:prSet presAssocID="{D9AFF782-FE71-42BB-99D0-C8D65EEC9AB8}" presName="hierChild5" presStyleCnt="0"/>
      <dgm:spPr/>
    </dgm:pt>
    <dgm:pt modelId="{A01BFD0A-DF36-4B6D-9BA0-3A05A52ED7B1}" type="pres">
      <dgm:prSet presAssocID="{735E0ECF-1473-4459-9782-B3BFD89D844B}" presName="hierChild3" presStyleCnt="0"/>
      <dgm:spPr/>
    </dgm:pt>
  </dgm:ptLst>
  <dgm:cxnLst>
    <dgm:cxn modelId="{D9E37111-B8E5-4806-AAD1-7B9FA8B19E12}" srcId="{AEB5C877-C77B-47BD-825A-482B3EB5DF5F}" destId="{735E0ECF-1473-4459-9782-B3BFD89D844B}" srcOrd="0" destOrd="0" parTransId="{90F12E4B-19E3-4560-90AB-454891BF7004}" sibTransId="{ACF038FB-1CE1-4A98-8F2E-9A6C83F1B13E}"/>
    <dgm:cxn modelId="{DDE97A23-B107-4301-843B-9FAB7A3824CE}" srcId="{735E0ECF-1473-4459-9782-B3BFD89D844B}" destId="{25AF2A20-742B-4B54-82EE-1A36C3C1A1C1}" srcOrd="2" destOrd="0" parTransId="{DD5605C9-86D4-46AB-815E-97791D76E890}" sibTransId="{DB2CF243-4E5E-43F5-BC45-86118435809D}"/>
    <dgm:cxn modelId="{39718F2F-F1BB-4543-94B9-E375F01D1237}" srcId="{735E0ECF-1473-4459-9782-B3BFD89D844B}" destId="{5D030A46-7792-4815-B57B-046A07F0140A}" srcOrd="0" destOrd="0" parTransId="{93793C77-22A1-4452-AA5B-CD75C3A2088D}" sibTransId="{23F7F991-0E15-4B2C-9412-38FC07AC3355}"/>
    <dgm:cxn modelId="{BF796633-D964-451F-B9F3-256C8D0C471D}" type="presOf" srcId="{DD5605C9-86D4-46AB-815E-97791D76E890}" destId="{04B36B14-FDED-4614-BB74-97EE5BB8F52D}" srcOrd="0" destOrd="0" presId="urn:microsoft.com/office/officeart/2005/8/layout/orgChart1"/>
    <dgm:cxn modelId="{7EF0843E-A080-43B0-8B93-EEBDB762DB4E}" type="presOf" srcId="{D9AFF782-FE71-42BB-99D0-C8D65EEC9AB8}" destId="{93A91F1D-7D22-4985-85A0-25585DC5988D}" srcOrd="0" destOrd="0" presId="urn:microsoft.com/office/officeart/2005/8/layout/orgChart1"/>
    <dgm:cxn modelId="{31C90A48-C72C-491D-A92D-3A474CB7D479}" type="presOf" srcId="{5D030A46-7792-4815-B57B-046A07F0140A}" destId="{2FD465CE-D641-4F07-9394-155CB7FBF3F3}" srcOrd="1" destOrd="0" presId="urn:microsoft.com/office/officeart/2005/8/layout/orgChart1"/>
    <dgm:cxn modelId="{2F1D6354-7B09-4794-A04B-8A26BBBD3611}" type="presOf" srcId="{D9AFF782-FE71-42BB-99D0-C8D65EEC9AB8}" destId="{C6591505-D2DB-4716-ADD2-239A1C546601}" srcOrd="1" destOrd="0" presId="urn:microsoft.com/office/officeart/2005/8/layout/orgChart1"/>
    <dgm:cxn modelId="{AAEC8174-EFA4-45DE-8C80-FE9901949D2C}" type="presOf" srcId="{5D030A46-7792-4815-B57B-046A07F0140A}" destId="{AC5FF851-1189-4F95-8351-A97A476B2246}" srcOrd="0" destOrd="0" presId="urn:microsoft.com/office/officeart/2005/8/layout/orgChart1"/>
    <dgm:cxn modelId="{0ECC4382-2D75-451B-B843-EB1DA230496D}" type="presOf" srcId="{C4171510-A219-4D73-ABD0-9340201AB08B}" destId="{71D9930B-3E8E-46AF-9F9D-50C9E28A14EA}" srcOrd="1" destOrd="0" presId="urn:microsoft.com/office/officeart/2005/8/layout/orgChart1"/>
    <dgm:cxn modelId="{F5C8658B-C641-4D5B-9611-EA2FB5D34D15}" type="presOf" srcId="{735E0ECF-1473-4459-9782-B3BFD89D844B}" destId="{608CB659-20FB-4FD5-BD59-4EDC1CFD706A}" srcOrd="0" destOrd="0" presId="urn:microsoft.com/office/officeart/2005/8/layout/orgChart1"/>
    <dgm:cxn modelId="{180A7198-8CF4-4565-9B33-A7FE4FD6A189}" srcId="{735E0ECF-1473-4459-9782-B3BFD89D844B}" destId="{D9AFF782-FE71-42BB-99D0-C8D65EEC9AB8}" srcOrd="3" destOrd="0" parTransId="{CC20C97E-EFDD-4A67-821C-3B85E1B7A98A}" sibTransId="{9D23B64F-CF42-49F8-8317-84814164169C}"/>
    <dgm:cxn modelId="{D1662BA2-0044-4920-AE9A-ECC67C36B483}" type="presOf" srcId="{93793C77-22A1-4452-AA5B-CD75C3A2088D}" destId="{AA2C4414-7EF3-4BAE-A19E-E52D628B3FAE}" srcOrd="0" destOrd="0" presId="urn:microsoft.com/office/officeart/2005/8/layout/orgChart1"/>
    <dgm:cxn modelId="{0C7711AA-3347-45A2-BD1F-7A8F83B66F66}" srcId="{735E0ECF-1473-4459-9782-B3BFD89D844B}" destId="{C4171510-A219-4D73-ABD0-9340201AB08B}" srcOrd="1" destOrd="0" parTransId="{C596D3E0-CF1C-4186-873C-266C0BDDA405}" sibTransId="{55F7E4BD-CE46-4672-9F79-FC039A5ADB47}"/>
    <dgm:cxn modelId="{C5F9A2B4-994F-4B02-89C5-4AA49B6FED21}" type="presOf" srcId="{25AF2A20-742B-4B54-82EE-1A36C3C1A1C1}" destId="{6F5EABE9-ADCF-4968-81B3-04689CB922B9}" srcOrd="0" destOrd="0" presId="urn:microsoft.com/office/officeart/2005/8/layout/orgChart1"/>
    <dgm:cxn modelId="{BEF6FDBD-B760-4A25-992B-543615E8DFC2}" type="presOf" srcId="{C4171510-A219-4D73-ABD0-9340201AB08B}" destId="{43FE5B09-28AC-4B39-BFE9-1C78BB5E9846}" srcOrd="0" destOrd="0" presId="urn:microsoft.com/office/officeart/2005/8/layout/orgChart1"/>
    <dgm:cxn modelId="{C5697BBF-A660-4CE2-BF5B-CBA9F3362CF8}" type="presOf" srcId="{C596D3E0-CF1C-4186-873C-266C0BDDA405}" destId="{2D62CCC2-632D-47CD-A6FB-AF9328D9C4C3}" srcOrd="0" destOrd="0" presId="urn:microsoft.com/office/officeart/2005/8/layout/orgChart1"/>
    <dgm:cxn modelId="{655C3FC6-FF4D-46FD-8D3F-9F381934AB67}" type="presOf" srcId="{CC20C97E-EFDD-4A67-821C-3B85E1B7A98A}" destId="{C52852C6-20B4-46A2-B6DA-5FE9764A5987}" srcOrd="0" destOrd="0" presId="urn:microsoft.com/office/officeart/2005/8/layout/orgChart1"/>
    <dgm:cxn modelId="{7EA7C5F5-79A3-4145-B2E2-630F8F86887E}" type="presOf" srcId="{AEB5C877-C77B-47BD-825A-482B3EB5DF5F}" destId="{008A9A80-BD13-446C-833B-2B197FFBA9AB}" srcOrd="0" destOrd="0" presId="urn:microsoft.com/office/officeart/2005/8/layout/orgChart1"/>
    <dgm:cxn modelId="{B09A44F6-FB9D-4A66-A1FF-DF393A33516C}" type="presOf" srcId="{25AF2A20-742B-4B54-82EE-1A36C3C1A1C1}" destId="{492EE907-4099-4D6E-8EF8-4A500681DBF1}" srcOrd="1" destOrd="0" presId="urn:microsoft.com/office/officeart/2005/8/layout/orgChart1"/>
    <dgm:cxn modelId="{D1BF9DF9-1189-4BB4-800D-FC4D5EE2293D}" type="presOf" srcId="{735E0ECF-1473-4459-9782-B3BFD89D844B}" destId="{663788D1-3B8C-4438-98A1-293F772704C9}" srcOrd="1" destOrd="0" presId="urn:microsoft.com/office/officeart/2005/8/layout/orgChart1"/>
    <dgm:cxn modelId="{2E4573A1-A4A1-49C3-92A3-B9B9C8247AE1}" type="presParOf" srcId="{008A9A80-BD13-446C-833B-2B197FFBA9AB}" destId="{ADF78B51-FF65-46D3-95B4-403BD752DD8A}" srcOrd="0" destOrd="0" presId="urn:microsoft.com/office/officeart/2005/8/layout/orgChart1"/>
    <dgm:cxn modelId="{C6508C64-7921-43C9-8100-1BC82469C1F5}" type="presParOf" srcId="{ADF78B51-FF65-46D3-95B4-403BD752DD8A}" destId="{D1481A51-9A8E-4E3F-ACFE-BBFBAA069003}" srcOrd="0" destOrd="0" presId="urn:microsoft.com/office/officeart/2005/8/layout/orgChart1"/>
    <dgm:cxn modelId="{5780DAB9-89DF-4203-8ADC-C2580D490F1F}" type="presParOf" srcId="{D1481A51-9A8E-4E3F-ACFE-BBFBAA069003}" destId="{608CB659-20FB-4FD5-BD59-4EDC1CFD706A}" srcOrd="0" destOrd="0" presId="urn:microsoft.com/office/officeart/2005/8/layout/orgChart1"/>
    <dgm:cxn modelId="{6EE2DC87-5CB0-4BBD-9968-4F1B5C6ABC26}" type="presParOf" srcId="{D1481A51-9A8E-4E3F-ACFE-BBFBAA069003}" destId="{663788D1-3B8C-4438-98A1-293F772704C9}" srcOrd="1" destOrd="0" presId="urn:microsoft.com/office/officeart/2005/8/layout/orgChart1"/>
    <dgm:cxn modelId="{B6E59371-BD2B-4A67-91A6-4677BEAAA408}" type="presParOf" srcId="{ADF78B51-FF65-46D3-95B4-403BD752DD8A}" destId="{B3767120-1D84-4CBF-A42A-7963C47D4D0B}" srcOrd="1" destOrd="0" presId="urn:microsoft.com/office/officeart/2005/8/layout/orgChart1"/>
    <dgm:cxn modelId="{AFC63573-FAFD-4581-85C9-1EC23A9F7A9E}" type="presParOf" srcId="{B3767120-1D84-4CBF-A42A-7963C47D4D0B}" destId="{AA2C4414-7EF3-4BAE-A19E-E52D628B3FAE}" srcOrd="0" destOrd="0" presId="urn:microsoft.com/office/officeart/2005/8/layout/orgChart1"/>
    <dgm:cxn modelId="{9253C694-DAFA-4083-8C03-6F64A39DD069}" type="presParOf" srcId="{B3767120-1D84-4CBF-A42A-7963C47D4D0B}" destId="{6387B0E3-D0C5-444F-9B93-1D720208E895}" srcOrd="1" destOrd="0" presId="urn:microsoft.com/office/officeart/2005/8/layout/orgChart1"/>
    <dgm:cxn modelId="{2D1522F9-BE14-419D-8FEB-4D68CC836705}" type="presParOf" srcId="{6387B0E3-D0C5-444F-9B93-1D720208E895}" destId="{12FC5992-2B6A-4B44-9993-4ACF04F605A0}" srcOrd="0" destOrd="0" presId="urn:microsoft.com/office/officeart/2005/8/layout/orgChart1"/>
    <dgm:cxn modelId="{B31F7DAE-E5E0-475E-A8EC-8D506EB990DE}" type="presParOf" srcId="{12FC5992-2B6A-4B44-9993-4ACF04F605A0}" destId="{AC5FF851-1189-4F95-8351-A97A476B2246}" srcOrd="0" destOrd="0" presId="urn:microsoft.com/office/officeart/2005/8/layout/orgChart1"/>
    <dgm:cxn modelId="{97EB837D-E706-48E3-8E2F-27CF3BBD0626}" type="presParOf" srcId="{12FC5992-2B6A-4B44-9993-4ACF04F605A0}" destId="{2FD465CE-D641-4F07-9394-155CB7FBF3F3}" srcOrd="1" destOrd="0" presId="urn:microsoft.com/office/officeart/2005/8/layout/orgChart1"/>
    <dgm:cxn modelId="{B0D087F3-5596-436B-B2D3-4CD9253D4CCC}" type="presParOf" srcId="{6387B0E3-D0C5-444F-9B93-1D720208E895}" destId="{C59FB238-8008-4F2B-BC0E-E3651B88BA6C}" srcOrd="1" destOrd="0" presId="urn:microsoft.com/office/officeart/2005/8/layout/orgChart1"/>
    <dgm:cxn modelId="{E2390BDB-4761-49BA-9180-B6F14A732962}" type="presParOf" srcId="{6387B0E3-D0C5-444F-9B93-1D720208E895}" destId="{8349AF55-683F-4F61-A046-C0C13CC76D05}" srcOrd="2" destOrd="0" presId="urn:microsoft.com/office/officeart/2005/8/layout/orgChart1"/>
    <dgm:cxn modelId="{7BD6394D-8F17-4BB4-A796-453E0B0FEF31}" type="presParOf" srcId="{B3767120-1D84-4CBF-A42A-7963C47D4D0B}" destId="{2D62CCC2-632D-47CD-A6FB-AF9328D9C4C3}" srcOrd="2" destOrd="0" presId="urn:microsoft.com/office/officeart/2005/8/layout/orgChart1"/>
    <dgm:cxn modelId="{7838C3D0-25AC-4BFE-824D-CEFAEAF8AE3B}" type="presParOf" srcId="{B3767120-1D84-4CBF-A42A-7963C47D4D0B}" destId="{DFA3A91B-E297-4234-BFEC-E07215C4A4F0}" srcOrd="3" destOrd="0" presId="urn:microsoft.com/office/officeart/2005/8/layout/orgChart1"/>
    <dgm:cxn modelId="{398A7B00-0328-4A22-B05C-8FB008089D82}" type="presParOf" srcId="{DFA3A91B-E297-4234-BFEC-E07215C4A4F0}" destId="{09E9B259-37C6-4DAC-B977-55FDCFAE76AB}" srcOrd="0" destOrd="0" presId="urn:microsoft.com/office/officeart/2005/8/layout/orgChart1"/>
    <dgm:cxn modelId="{58E0FFDE-CA18-4AF2-AEB9-7C463A134CAC}" type="presParOf" srcId="{09E9B259-37C6-4DAC-B977-55FDCFAE76AB}" destId="{43FE5B09-28AC-4B39-BFE9-1C78BB5E9846}" srcOrd="0" destOrd="0" presId="urn:microsoft.com/office/officeart/2005/8/layout/orgChart1"/>
    <dgm:cxn modelId="{8DCF7358-67FC-4188-A36B-EBC493E4155A}" type="presParOf" srcId="{09E9B259-37C6-4DAC-B977-55FDCFAE76AB}" destId="{71D9930B-3E8E-46AF-9F9D-50C9E28A14EA}" srcOrd="1" destOrd="0" presId="urn:microsoft.com/office/officeart/2005/8/layout/orgChart1"/>
    <dgm:cxn modelId="{23BF2C8F-8CAA-47CC-B209-F9D7CB866B50}" type="presParOf" srcId="{DFA3A91B-E297-4234-BFEC-E07215C4A4F0}" destId="{CE602C07-2778-4BEB-9377-8EF46EEC3364}" srcOrd="1" destOrd="0" presId="urn:microsoft.com/office/officeart/2005/8/layout/orgChart1"/>
    <dgm:cxn modelId="{627FFD97-3FA1-43F8-BC7F-F1607E861100}" type="presParOf" srcId="{DFA3A91B-E297-4234-BFEC-E07215C4A4F0}" destId="{5BC729F7-A32A-4515-A574-DFBC30FDA19B}" srcOrd="2" destOrd="0" presId="urn:microsoft.com/office/officeart/2005/8/layout/orgChart1"/>
    <dgm:cxn modelId="{0D65AE45-C4B7-4B15-BA69-2C7CC2136C90}" type="presParOf" srcId="{B3767120-1D84-4CBF-A42A-7963C47D4D0B}" destId="{04B36B14-FDED-4614-BB74-97EE5BB8F52D}" srcOrd="4" destOrd="0" presId="urn:microsoft.com/office/officeart/2005/8/layout/orgChart1"/>
    <dgm:cxn modelId="{CA30B9E4-D00B-4F37-B12D-94B44B4E97D3}" type="presParOf" srcId="{B3767120-1D84-4CBF-A42A-7963C47D4D0B}" destId="{106AC147-102C-49EA-AA5F-EF5284021786}" srcOrd="5" destOrd="0" presId="urn:microsoft.com/office/officeart/2005/8/layout/orgChart1"/>
    <dgm:cxn modelId="{1841EDF5-A9BC-4156-BBE4-D5B7C3A9E5D1}" type="presParOf" srcId="{106AC147-102C-49EA-AA5F-EF5284021786}" destId="{A185BBF1-A3C4-4167-BD2D-01117B8865F1}" srcOrd="0" destOrd="0" presId="urn:microsoft.com/office/officeart/2005/8/layout/orgChart1"/>
    <dgm:cxn modelId="{15CA7C13-37A1-4A02-B047-FE4F965115DA}" type="presParOf" srcId="{A185BBF1-A3C4-4167-BD2D-01117B8865F1}" destId="{6F5EABE9-ADCF-4968-81B3-04689CB922B9}" srcOrd="0" destOrd="0" presId="urn:microsoft.com/office/officeart/2005/8/layout/orgChart1"/>
    <dgm:cxn modelId="{6B530852-021B-4889-8B9B-2E8178BE5165}" type="presParOf" srcId="{A185BBF1-A3C4-4167-BD2D-01117B8865F1}" destId="{492EE907-4099-4D6E-8EF8-4A500681DBF1}" srcOrd="1" destOrd="0" presId="urn:microsoft.com/office/officeart/2005/8/layout/orgChart1"/>
    <dgm:cxn modelId="{0AF75155-0D03-4947-9D9E-71EA8C70E77B}" type="presParOf" srcId="{106AC147-102C-49EA-AA5F-EF5284021786}" destId="{604BD7F7-0389-4ECB-B419-E102FB55CEAC}" srcOrd="1" destOrd="0" presId="urn:microsoft.com/office/officeart/2005/8/layout/orgChart1"/>
    <dgm:cxn modelId="{9711342F-626B-4EA8-96F2-69D07A619F03}" type="presParOf" srcId="{106AC147-102C-49EA-AA5F-EF5284021786}" destId="{DC47B5BE-0D25-4337-B97F-303E26D4FF58}" srcOrd="2" destOrd="0" presId="urn:microsoft.com/office/officeart/2005/8/layout/orgChart1"/>
    <dgm:cxn modelId="{0D097242-B9E2-42C8-B325-E1403B71E778}" type="presParOf" srcId="{B3767120-1D84-4CBF-A42A-7963C47D4D0B}" destId="{C52852C6-20B4-46A2-B6DA-5FE9764A5987}" srcOrd="6" destOrd="0" presId="urn:microsoft.com/office/officeart/2005/8/layout/orgChart1"/>
    <dgm:cxn modelId="{3175E67C-FAC1-4AD3-9417-4BF71F4D3ED4}" type="presParOf" srcId="{B3767120-1D84-4CBF-A42A-7963C47D4D0B}" destId="{B608C61A-120B-4251-B9EB-E7EDC8273B6F}" srcOrd="7" destOrd="0" presId="urn:microsoft.com/office/officeart/2005/8/layout/orgChart1"/>
    <dgm:cxn modelId="{F4A71831-E03C-4406-83C7-F11D66E4DC7C}" type="presParOf" srcId="{B608C61A-120B-4251-B9EB-E7EDC8273B6F}" destId="{6DEDE116-3EA2-4404-BA72-3E63AF293AAD}" srcOrd="0" destOrd="0" presId="urn:microsoft.com/office/officeart/2005/8/layout/orgChart1"/>
    <dgm:cxn modelId="{31904E82-2064-41CB-8491-0C504FFF8F0F}" type="presParOf" srcId="{6DEDE116-3EA2-4404-BA72-3E63AF293AAD}" destId="{93A91F1D-7D22-4985-85A0-25585DC5988D}" srcOrd="0" destOrd="0" presId="urn:microsoft.com/office/officeart/2005/8/layout/orgChart1"/>
    <dgm:cxn modelId="{135D8D56-71AF-4948-9610-3534EF340247}" type="presParOf" srcId="{6DEDE116-3EA2-4404-BA72-3E63AF293AAD}" destId="{C6591505-D2DB-4716-ADD2-239A1C546601}" srcOrd="1" destOrd="0" presId="urn:microsoft.com/office/officeart/2005/8/layout/orgChart1"/>
    <dgm:cxn modelId="{B2313819-4ADD-4477-9689-2C20B3A79562}" type="presParOf" srcId="{B608C61A-120B-4251-B9EB-E7EDC8273B6F}" destId="{938C0902-ABBE-4EAB-8859-4C995FBF347B}" srcOrd="1" destOrd="0" presId="urn:microsoft.com/office/officeart/2005/8/layout/orgChart1"/>
    <dgm:cxn modelId="{3AB6226A-41A1-4C86-93E3-D838D1D6730C}" type="presParOf" srcId="{B608C61A-120B-4251-B9EB-E7EDC8273B6F}" destId="{2FE1CF98-76D1-4570-9A8A-D319916AAC7F}" srcOrd="2" destOrd="0" presId="urn:microsoft.com/office/officeart/2005/8/layout/orgChart1"/>
    <dgm:cxn modelId="{63999A6F-E262-456E-AF6A-830B280B74A9}" type="presParOf" srcId="{ADF78B51-FF65-46D3-95B4-403BD752DD8A}" destId="{A01BFD0A-DF36-4B6D-9BA0-3A05A52ED7B1}" srcOrd="2" destOrd="0" presId="urn:microsoft.com/office/officeart/2005/8/layout/orgChar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46EDD2-AE2D-4CCC-A153-7110360B9BEC}">
      <dsp:nvSpPr>
        <dsp:cNvPr id="0" name=""/>
        <dsp:cNvSpPr/>
      </dsp:nvSpPr>
      <dsp:spPr>
        <a:xfrm>
          <a:off x="9095215" y="1877216"/>
          <a:ext cx="163994" cy="17929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2973"/>
              </a:lnTo>
              <a:lnTo>
                <a:pt x="163994" y="179297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79F611-1768-4DF1-92D2-2ABA33F52954}">
      <dsp:nvSpPr>
        <dsp:cNvPr id="0" name=""/>
        <dsp:cNvSpPr/>
      </dsp:nvSpPr>
      <dsp:spPr>
        <a:xfrm>
          <a:off x="8941044" y="1877216"/>
          <a:ext cx="154170" cy="2711458"/>
        </a:xfrm>
        <a:custGeom>
          <a:avLst/>
          <a:gdLst/>
          <a:ahLst/>
          <a:cxnLst/>
          <a:rect l="0" t="0" r="0" b="0"/>
          <a:pathLst>
            <a:path>
              <a:moveTo>
                <a:pt x="154170" y="0"/>
              </a:moveTo>
              <a:lnTo>
                <a:pt x="154170" y="2711458"/>
              </a:lnTo>
              <a:lnTo>
                <a:pt x="0" y="271145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C61ABF-E910-4668-AC4D-DCE4666050B7}">
      <dsp:nvSpPr>
        <dsp:cNvPr id="0" name=""/>
        <dsp:cNvSpPr/>
      </dsp:nvSpPr>
      <dsp:spPr>
        <a:xfrm>
          <a:off x="8934636" y="1877216"/>
          <a:ext cx="160578" cy="1789302"/>
        </a:xfrm>
        <a:custGeom>
          <a:avLst/>
          <a:gdLst/>
          <a:ahLst/>
          <a:cxnLst/>
          <a:rect l="0" t="0" r="0" b="0"/>
          <a:pathLst>
            <a:path>
              <a:moveTo>
                <a:pt x="160578" y="0"/>
              </a:moveTo>
              <a:lnTo>
                <a:pt x="160578" y="1789302"/>
              </a:lnTo>
              <a:lnTo>
                <a:pt x="0" y="178930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0BE9DB-483E-4D39-959E-0895D44A0731}">
      <dsp:nvSpPr>
        <dsp:cNvPr id="0" name=""/>
        <dsp:cNvSpPr/>
      </dsp:nvSpPr>
      <dsp:spPr>
        <a:xfrm>
          <a:off x="9095215" y="1877216"/>
          <a:ext cx="163994" cy="7112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1240"/>
              </a:lnTo>
              <a:lnTo>
                <a:pt x="163994" y="7112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0AFB7F-2B1C-4F2F-90FD-534B3C5D185A}">
      <dsp:nvSpPr>
        <dsp:cNvPr id="0" name=""/>
        <dsp:cNvSpPr/>
      </dsp:nvSpPr>
      <dsp:spPr>
        <a:xfrm>
          <a:off x="8953340" y="1877216"/>
          <a:ext cx="141874" cy="711240"/>
        </a:xfrm>
        <a:custGeom>
          <a:avLst/>
          <a:gdLst/>
          <a:ahLst/>
          <a:cxnLst/>
          <a:rect l="0" t="0" r="0" b="0"/>
          <a:pathLst>
            <a:path>
              <a:moveTo>
                <a:pt x="141874" y="0"/>
              </a:moveTo>
              <a:lnTo>
                <a:pt x="141874" y="711240"/>
              </a:lnTo>
              <a:lnTo>
                <a:pt x="0" y="7112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B36B14-FDED-4614-BB74-97EE5BB8F52D}">
      <dsp:nvSpPr>
        <dsp:cNvPr id="0" name=""/>
        <dsp:cNvSpPr/>
      </dsp:nvSpPr>
      <dsp:spPr>
        <a:xfrm>
          <a:off x="5394263" y="791400"/>
          <a:ext cx="3700951" cy="321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60578"/>
              </a:lnTo>
              <a:lnTo>
                <a:pt x="3700951" y="160578"/>
              </a:lnTo>
              <a:lnTo>
                <a:pt x="3700951" y="32115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260DFB-585E-4A73-816C-F9AEEDDA9394}">
      <dsp:nvSpPr>
        <dsp:cNvPr id="0" name=""/>
        <dsp:cNvSpPr/>
      </dsp:nvSpPr>
      <dsp:spPr>
        <a:xfrm>
          <a:off x="5394264" y="1877216"/>
          <a:ext cx="179282" cy="17970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7056"/>
              </a:lnTo>
              <a:lnTo>
                <a:pt x="179282" y="179705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E74CAF-23C6-4A5D-A858-3A2C21F0676F}">
      <dsp:nvSpPr>
        <dsp:cNvPr id="0" name=""/>
        <dsp:cNvSpPr/>
      </dsp:nvSpPr>
      <dsp:spPr>
        <a:xfrm>
          <a:off x="5252389" y="1877216"/>
          <a:ext cx="141874" cy="1797056"/>
        </a:xfrm>
        <a:custGeom>
          <a:avLst/>
          <a:gdLst/>
          <a:ahLst/>
          <a:cxnLst/>
          <a:rect l="0" t="0" r="0" b="0"/>
          <a:pathLst>
            <a:path>
              <a:moveTo>
                <a:pt x="141874" y="0"/>
              </a:moveTo>
              <a:lnTo>
                <a:pt x="141874" y="1797056"/>
              </a:lnTo>
              <a:lnTo>
                <a:pt x="0" y="179705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203ED4-6493-487D-88B2-D43CA89A714C}">
      <dsp:nvSpPr>
        <dsp:cNvPr id="0" name=""/>
        <dsp:cNvSpPr/>
      </dsp:nvSpPr>
      <dsp:spPr>
        <a:xfrm>
          <a:off x="5394264" y="1877216"/>
          <a:ext cx="179282" cy="7112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1240"/>
              </a:lnTo>
              <a:lnTo>
                <a:pt x="179282" y="7112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A6A1AF-C065-491A-9B9F-6AC6C886A573}">
      <dsp:nvSpPr>
        <dsp:cNvPr id="0" name=""/>
        <dsp:cNvSpPr/>
      </dsp:nvSpPr>
      <dsp:spPr>
        <a:xfrm>
          <a:off x="5252389" y="1877216"/>
          <a:ext cx="141874" cy="711240"/>
        </a:xfrm>
        <a:custGeom>
          <a:avLst/>
          <a:gdLst/>
          <a:ahLst/>
          <a:cxnLst/>
          <a:rect l="0" t="0" r="0" b="0"/>
          <a:pathLst>
            <a:path>
              <a:moveTo>
                <a:pt x="141874" y="0"/>
              </a:moveTo>
              <a:lnTo>
                <a:pt x="141874" y="711240"/>
              </a:lnTo>
              <a:lnTo>
                <a:pt x="0" y="7112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62CCC2-632D-47CD-A6FB-AF9328D9C4C3}">
      <dsp:nvSpPr>
        <dsp:cNvPr id="0" name=""/>
        <dsp:cNvSpPr/>
      </dsp:nvSpPr>
      <dsp:spPr>
        <a:xfrm>
          <a:off x="5348543" y="791400"/>
          <a:ext cx="91440" cy="32115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2115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228D22-AB2C-4818-946A-805E3D87E56C}">
      <dsp:nvSpPr>
        <dsp:cNvPr id="0" name=""/>
        <dsp:cNvSpPr/>
      </dsp:nvSpPr>
      <dsp:spPr>
        <a:xfrm>
          <a:off x="1551438" y="1877216"/>
          <a:ext cx="141874" cy="2882872"/>
        </a:xfrm>
        <a:custGeom>
          <a:avLst/>
          <a:gdLst/>
          <a:ahLst/>
          <a:cxnLst/>
          <a:rect l="0" t="0" r="0" b="0"/>
          <a:pathLst>
            <a:path>
              <a:moveTo>
                <a:pt x="141874" y="0"/>
              </a:moveTo>
              <a:lnTo>
                <a:pt x="141874" y="2882872"/>
              </a:lnTo>
              <a:lnTo>
                <a:pt x="0" y="288287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5CF41C-8E65-4556-B698-9DE0FA9D7114}">
      <dsp:nvSpPr>
        <dsp:cNvPr id="0" name=""/>
        <dsp:cNvSpPr/>
      </dsp:nvSpPr>
      <dsp:spPr>
        <a:xfrm>
          <a:off x="1693312" y="1877216"/>
          <a:ext cx="160578" cy="17893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89302"/>
              </a:lnTo>
              <a:lnTo>
                <a:pt x="160578" y="178930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95F404-0DA7-405E-81AE-25EEDEC41780}">
      <dsp:nvSpPr>
        <dsp:cNvPr id="0" name=""/>
        <dsp:cNvSpPr/>
      </dsp:nvSpPr>
      <dsp:spPr>
        <a:xfrm>
          <a:off x="1532734" y="1877216"/>
          <a:ext cx="160578" cy="1789302"/>
        </a:xfrm>
        <a:custGeom>
          <a:avLst/>
          <a:gdLst/>
          <a:ahLst/>
          <a:cxnLst/>
          <a:rect l="0" t="0" r="0" b="0"/>
          <a:pathLst>
            <a:path>
              <a:moveTo>
                <a:pt x="160578" y="0"/>
              </a:moveTo>
              <a:lnTo>
                <a:pt x="160578" y="1789302"/>
              </a:lnTo>
              <a:lnTo>
                <a:pt x="0" y="178930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8B994C-FFB3-4EA3-9D85-F30443BCB270}">
      <dsp:nvSpPr>
        <dsp:cNvPr id="0" name=""/>
        <dsp:cNvSpPr/>
      </dsp:nvSpPr>
      <dsp:spPr>
        <a:xfrm>
          <a:off x="1693312" y="1877216"/>
          <a:ext cx="179282" cy="7112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11240"/>
              </a:lnTo>
              <a:lnTo>
                <a:pt x="179282" y="7112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4FE7E-1514-4596-B8CE-BCE54D5A582E}">
      <dsp:nvSpPr>
        <dsp:cNvPr id="0" name=""/>
        <dsp:cNvSpPr/>
      </dsp:nvSpPr>
      <dsp:spPr>
        <a:xfrm>
          <a:off x="1545733" y="1877216"/>
          <a:ext cx="147579" cy="711240"/>
        </a:xfrm>
        <a:custGeom>
          <a:avLst/>
          <a:gdLst/>
          <a:ahLst/>
          <a:cxnLst/>
          <a:rect l="0" t="0" r="0" b="0"/>
          <a:pathLst>
            <a:path>
              <a:moveTo>
                <a:pt x="147579" y="0"/>
              </a:moveTo>
              <a:lnTo>
                <a:pt x="147579" y="711240"/>
              </a:lnTo>
              <a:lnTo>
                <a:pt x="0" y="7112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2C4414-7EF3-4BAE-A19E-E52D628B3FAE}">
      <dsp:nvSpPr>
        <dsp:cNvPr id="0" name=""/>
        <dsp:cNvSpPr/>
      </dsp:nvSpPr>
      <dsp:spPr>
        <a:xfrm>
          <a:off x="1693312" y="791400"/>
          <a:ext cx="3700951" cy="321156"/>
        </a:xfrm>
        <a:custGeom>
          <a:avLst/>
          <a:gdLst/>
          <a:ahLst/>
          <a:cxnLst/>
          <a:rect l="0" t="0" r="0" b="0"/>
          <a:pathLst>
            <a:path>
              <a:moveTo>
                <a:pt x="3700951" y="0"/>
              </a:moveTo>
              <a:lnTo>
                <a:pt x="3700951" y="160578"/>
              </a:lnTo>
              <a:lnTo>
                <a:pt x="0" y="160578"/>
              </a:lnTo>
              <a:lnTo>
                <a:pt x="0" y="32115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CB659-20FB-4FD5-BD59-4EDC1CFD706A}">
      <dsp:nvSpPr>
        <dsp:cNvPr id="0" name=""/>
        <dsp:cNvSpPr/>
      </dsp:nvSpPr>
      <dsp:spPr>
        <a:xfrm>
          <a:off x="4629604" y="26740"/>
          <a:ext cx="1529318" cy="764659"/>
        </a:xfrm>
        <a:prstGeom prst="rect">
          <a:avLst/>
        </a:prstGeom>
        <a:solidFill>
          <a:schemeClr val="accent1">
            <a:lumMod val="7500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Chief Technology Operations Officer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Scott Bombaugh</a:t>
          </a:r>
        </a:p>
      </dsp:txBody>
      <dsp:txXfrm>
        <a:off x="4629604" y="26740"/>
        <a:ext cx="1529318" cy="764659"/>
      </dsp:txXfrm>
    </dsp:sp>
    <dsp:sp modelId="{AC5FF851-1189-4F95-8351-A97A476B2246}">
      <dsp:nvSpPr>
        <dsp:cNvPr id="0" name=""/>
        <dsp:cNvSpPr/>
      </dsp:nvSpPr>
      <dsp:spPr>
        <a:xfrm>
          <a:off x="928653" y="1112557"/>
          <a:ext cx="1529318" cy="764659"/>
        </a:xfrm>
        <a:prstGeom prst="rect">
          <a:avLst/>
        </a:prstGeom>
        <a:solidFill>
          <a:schemeClr val="accent6">
            <a:lumMod val="7500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VP Engineering System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Linda Malone</a:t>
          </a:r>
          <a:endParaRPr lang="en-US" sz="900" kern="1200" dirty="0"/>
        </a:p>
      </dsp:txBody>
      <dsp:txXfrm>
        <a:off x="928653" y="1112557"/>
        <a:ext cx="1529318" cy="764659"/>
      </dsp:txXfrm>
    </dsp:sp>
    <dsp:sp modelId="{857E5E5B-C52C-4438-9D5D-D1C33F85DC46}">
      <dsp:nvSpPr>
        <dsp:cNvPr id="0" name=""/>
        <dsp:cNvSpPr/>
      </dsp:nvSpPr>
      <dsp:spPr>
        <a:xfrm>
          <a:off x="16415" y="2206126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Engineering Software and Testi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Shahpour Ashaari </a:t>
          </a:r>
          <a:endParaRPr lang="en-US" sz="900" kern="1200" dirty="0"/>
        </a:p>
      </dsp:txBody>
      <dsp:txXfrm>
        <a:off x="16415" y="2206126"/>
        <a:ext cx="1529318" cy="764659"/>
      </dsp:txXfrm>
    </dsp:sp>
    <dsp:sp modelId="{36764980-1D1F-4C31-B763-CBCF535AD06A}">
      <dsp:nvSpPr>
        <dsp:cNvPr id="0" name=""/>
        <dsp:cNvSpPr/>
      </dsp:nvSpPr>
      <dsp:spPr>
        <a:xfrm>
          <a:off x="1872594" y="2206126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Delivery and Retail Technology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Alison Turner</a:t>
          </a:r>
          <a:endParaRPr lang="en-US" sz="900" kern="1200" dirty="0"/>
        </a:p>
      </dsp:txBody>
      <dsp:txXfrm>
        <a:off x="1872594" y="2206126"/>
        <a:ext cx="1529318" cy="764659"/>
      </dsp:txXfrm>
    </dsp:sp>
    <dsp:sp modelId="{F721A2C3-B74E-4B93-9D96-D10D55204BB2}">
      <dsp:nvSpPr>
        <dsp:cNvPr id="0" name=""/>
        <dsp:cNvSpPr/>
      </dsp:nvSpPr>
      <dsp:spPr>
        <a:xfrm>
          <a:off x="3415" y="3284189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Material Handling and Robotic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John Dunlop</a:t>
          </a:r>
          <a:endParaRPr lang="en-US" sz="900" kern="1200" dirty="0"/>
        </a:p>
      </dsp:txBody>
      <dsp:txXfrm>
        <a:off x="3415" y="3284189"/>
        <a:ext cx="1529318" cy="764659"/>
      </dsp:txXfrm>
    </dsp:sp>
    <dsp:sp modelId="{0B3673FB-5A00-41D7-A466-568C6A22B051}">
      <dsp:nvSpPr>
        <dsp:cNvPr id="0" name=""/>
        <dsp:cNvSpPr/>
      </dsp:nvSpPr>
      <dsp:spPr>
        <a:xfrm>
          <a:off x="1853891" y="3284189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Technology Development and Application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Amit Cholkar</a:t>
          </a:r>
          <a:endParaRPr lang="en-US" sz="900" kern="1200" dirty="0"/>
        </a:p>
      </dsp:txBody>
      <dsp:txXfrm>
        <a:off x="1853891" y="3284189"/>
        <a:ext cx="1529318" cy="764659"/>
      </dsp:txXfrm>
    </dsp:sp>
    <dsp:sp modelId="{89953E0F-E104-42A0-9060-1313CAEAD95B}">
      <dsp:nvSpPr>
        <dsp:cNvPr id="0" name=""/>
        <dsp:cNvSpPr/>
      </dsp:nvSpPr>
      <dsp:spPr>
        <a:xfrm>
          <a:off x="22119" y="4377759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Technology Acquisition       and Program Managemen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Don Crone</a:t>
          </a:r>
          <a:endParaRPr lang="en-US" sz="900" kern="1200" dirty="0"/>
        </a:p>
      </dsp:txBody>
      <dsp:txXfrm>
        <a:off x="22119" y="4377759"/>
        <a:ext cx="1529318" cy="764659"/>
      </dsp:txXfrm>
    </dsp:sp>
    <dsp:sp modelId="{43FE5B09-28AC-4B39-BFE9-1C78BB5E9846}">
      <dsp:nvSpPr>
        <dsp:cNvPr id="0" name=""/>
        <dsp:cNvSpPr/>
      </dsp:nvSpPr>
      <dsp:spPr>
        <a:xfrm>
          <a:off x="4629604" y="1112557"/>
          <a:ext cx="1529318" cy="764659"/>
        </a:xfrm>
        <a:prstGeom prst="rect">
          <a:avLst/>
        </a:prstGeom>
        <a:solidFill>
          <a:schemeClr val="accent6">
            <a:lumMod val="7500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VP Enterprise Analytic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Jeff Johnson</a:t>
          </a:r>
        </a:p>
      </dsp:txBody>
      <dsp:txXfrm>
        <a:off x="4629604" y="1112557"/>
        <a:ext cx="1529318" cy="764659"/>
      </dsp:txXfrm>
    </dsp:sp>
    <dsp:sp modelId="{A8A43A45-90AB-4F0B-9084-0D14C71D65E1}">
      <dsp:nvSpPr>
        <dsp:cNvPr id="0" name=""/>
        <dsp:cNvSpPr/>
      </dsp:nvSpPr>
      <dsp:spPr>
        <a:xfrm>
          <a:off x="3723070" y="2206126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Corporate Reporti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Stephen Dearing</a:t>
          </a:r>
        </a:p>
      </dsp:txBody>
      <dsp:txXfrm>
        <a:off x="3723070" y="2206126"/>
        <a:ext cx="1529318" cy="764659"/>
      </dsp:txXfrm>
    </dsp:sp>
    <dsp:sp modelId="{18F5216A-D74D-45D9-8EB3-3C45223454C9}">
      <dsp:nvSpPr>
        <dsp:cNvPr id="0" name=""/>
        <dsp:cNvSpPr/>
      </dsp:nvSpPr>
      <dsp:spPr>
        <a:xfrm>
          <a:off x="5573546" y="2206126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Addressing &amp;Geospatial Technology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James Wilson</a:t>
          </a:r>
        </a:p>
      </dsp:txBody>
      <dsp:txXfrm>
        <a:off x="5573546" y="2206126"/>
        <a:ext cx="1529318" cy="764659"/>
      </dsp:txXfrm>
    </dsp:sp>
    <dsp:sp modelId="{427A19DC-BCE0-44E5-BFEE-E56D90F4D79D}">
      <dsp:nvSpPr>
        <dsp:cNvPr id="0" name=""/>
        <dsp:cNvSpPr/>
      </dsp:nvSpPr>
      <dsp:spPr>
        <a:xfrm>
          <a:off x="3723070" y="3291943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/>
            <a:t>Dir Advanced Analytic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/>
            <a:t>Wilairat Udomsawat</a:t>
          </a:r>
          <a:endParaRPr lang="en-US" sz="900" b="1" kern="1200" dirty="0"/>
        </a:p>
      </dsp:txBody>
      <dsp:txXfrm>
        <a:off x="3723070" y="3291943"/>
        <a:ext cx="1529318" cy="764659"/>
      </dsp:txXfrm>
    </dsp:sp>
    <dsp:sp modelId="{93931096-6600-46C3-98DA-74AC02AC0B71}">
      <dsp:nvSpPr>
        <dsp:cNvPr id="0" name=""/>
        <dsp:cNvSpPr/>
      </dsp:nvSpPr>
      <dsp:spPr>
        <a:xfrm>
          <a:off x="5573546" y="3291943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Systems Integration/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Robert Moran</a:t>
          </a:r>
        </a:p>
      </dsp:txBody>
      <dsp:txXfrm>
        <a:off x="5573546" y="3291943"/>
        <a:ext cx="1529318" cy="764659"/>
      </dsp:txXfrm>
    </dsp:sp>
    <dsp:sp modelId="{6F5EABE9-ADCF-4968-81B3-04689CB922B9}">
      <dsp:nvSpPr>
        <dsp:cNvPr id="0" name=""/>
        <dsp:cNvSpPr/>
      </dsp:nvSpPr>
      <dsp:spPr>
        <a:xfrm>
          <a:off x="8330555" y="1112557"/>
          <a:ext cx="1529318" cy="764659"/>
        </a:xfrm>
        <a:prstGeom prst="rect">
          <a:avLst/>
        </a:prstGeom>
        <a:solidFill>
          <a:schemeClr val="accent6">
            <a:lumMod val="75000"/>
          </a:schemeClr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/>
            <a:t>VP Innovative Business Technology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Gary Reblin</a:t>
          </a:r>
        </a:p>
      </dsp:txBody>
      <dsp:txXfrm>
        <a:off x="8330555" y="1112557"/>
        <a:ext cx="1529318" cy="764659"/>
      </dsp:txXfrm>
    </dsp:sp>
    <dsp:sp modelId="{7F2C8B3F-CC73-4AF4-B493-142FDFBE4550}">
      <dsp:nvSpPr>
        <dsp:cNvPr id="0" name=""/>
        <dsp:cNvSpPr/>
      </dsp:nvSpPr>
      <dsp:spPr>
        <a:xfrm>
          <a:off x="7424021" y="2206126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/>
            <a:t>Dir Product Technology Innovation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Bob Dixon</a:t>
          </a:r>
        </a:p>
      </dsp:txBody>
      <dsp:txXfrm>
        <a:off x="7424021" y="2206126"/>
        <a:ext cx="1529318" cy="764659"/>
      </dsp:txXfrm>
    </dsp:sp>
    <dsp:sp modelId="{A3E4031B-8BAB-4B77-A326-269F825A8EE1}">
      <dsp:nvSpPr>
        <dsp:cNvPr id="0" name=""/>
        <dsp:cNvSpPr/>
      </dsp:nvSpPr>
      <dsp:spPr>
        <a:xfrm>
          <a:off x="9259209" y="2206126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/>
            <a:t>Dir Mailing Servic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Vicki Stephen</a:t>
          </a:r>
        </a:p>
      </dsp:txBody>
      <dsp:txXfrm>
        <a:off x="9259209" y="2206126"/>
        <a:ext cx="1529318" cy="764659"/>
      </dsp:txXfrm>
    </dsp:sp>
    <dsp:sp modelId="{0EBD0C9E-C5E6-406F-9F73-CA840D3FE333}">
      <dsp:nvSpPr>
        <dsp:cNvPr id="0" name=""/>
        <dsp:cNvSpPr/>
      </dsp:nvSpPr>
      <dsp:spPr>
        <a:xfrm>
          <a:off x="7405317" y="3284189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ir Digital Business Servic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Jeff Tackes/A</a:t>
          </a:r>
        </a:p>
      </dsp:txBody>
      <dsp:txXfrm>
        <a:off x="7405317" y="3284189"/>
        <a:ext cx="1529318" cy="764659"/>
      </dsp:txXfrm>
    </dsp:sp>
    <dsp:sp modelId="{BC6D9694-E2FB-466A-9121-F6DA2CA4E423}">
      <dsp:nvSpPr>
        <dsp:cNvPr id="0" name=""/>
        <dsp:cNvSpPr/>
      </dsp:nvSpPr>
      <dsp:spPr>
        <a:xfrm>
          <a:off x="7411725" y="4206345"/>
          <a:ext cx="1529318" cy="764659"/>
        </a:xfrm>
        <a:prstGeom prst="rect">
          <a:avLst/>
        </a:prstGeom>
        <a:solidFill>
          <a:schemeClr val="accent5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/>
            <a:t>Mgr Mail and Package Information System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Juliaann Hess</a:t>
          </a:r>
        </a:p>
      </dsp:txBody>
      <dsp:txXfrm>
        <a:off x="7411725" y="4206345"/>
        <a:ext cx="1529318" cy="764659"/>
      </dsp:txXfrm>
    </dsp:sp>
    <dsp:sp modelId="{34C6C65D-2FB2-4BC6-85E7-4981197D899A}">
      <dsp:nvSpPr>
        <dsp:cNvPr id="0" name=""/>
        <dsp:cNvSpPr/>
      </dsp:nvSpPr>
      <dsp:spPr>
        <a:xfrm>
          <a:off x="9259209" y="3287859"/>
          <a:ext cx="1529318" cy="764659"/>
        </a:xfrm>
        <a:prstGeom prst="rect">
          <a:avLst/>
        </a:prstGeom>
        <a:solidFill>
          <a:schemeClr val="accent2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3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/>
            <a:t>Dir Digital Busines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/>
            <a:t>Lauren Lee</a:t>
          </a:r>
          <a:endParaRPr lang="en-US" sz="900" b="1" kern="1200" dirty="0"/>
        </a:p>
      </dsp:txBody>
      <dsp:txXfrm>
        <a:off x="9259209" y="3287859"/>
        <a:ext cx="1529318" cy="76465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AC2CD4-F44A-4EEF-B4A6-6FADC26E591F}">
      <dsp:nvSpPr>
        <dsp:cNvPr id="0" name=""/>
        <dsp:cNvSpPr/>
      </dsp:nvSpPr>
      <dsp:spPr>
        <a:xfrm>
          <a:off x="10451032" y="2431515"/>
          <a:ext cx="131505" cy="2355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55088"/>
              </a:lnTo>
              <a:lnTo>
                <a:pt x="131505" y="235508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B232EF-2D1D-49CB-9869-94894A759754}">
      <dsp:nvSpPr>
        <dsp:cNvPr id="0" name=""/>
        <dsp:cNvSpPr/>
      </dsp:nvSpPr>
      <dsp:spPr>
        <a:xfrm>
          <a:off x="10335131" y="2431515"/>
          <a:ext cx="115901" cy="2355088"/>
        </a:xfrm>
        <a:custGeom>
          <a:avLst/>
          <a:gdLst/>
          <a:ahLst/>
          <a:cxnLst/>
          <a:rect l="0" t="0" r="0" b="0"/>
          <a:pathLst>
            <a:path>
              <a:moveTo>
                <a:pt x="115901" y="0"/>
              </a:moveTo>
              <a:lnTo>
                <a:pt x="115901" y="2355088"/>
              </a:lnTo>
              <a:lnTo>
                <a:pt x="0" y="235508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80CF6A-AD39-4810-94ED-3BA4F0BB8147}">
      <dsp:nvSpPr>
        <dsp:cNvPr id="0" name=""/>
        <dsp:cNvSpPr/>
      </dsp:nvSpPr>
      <dsp:spPr>
        <a:xfrm>
          <a:off x="10451032" y="2431515"/>
          <a:ext cx="131505" cy="14680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68058"/>
              </a:lnTo>
              <a:lnTo>
                <a:pt x="131505" y="146805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D3BB45-9D19-4703-88C2-66BEE4E2B973}">
      <dsp:nvSpPr>
        <dsp:cNvPr id="0" name=""/>
        <dsp:cNvSpPr/>
      </dsp:nvSpPr>
      <dsp:spPr>
        <a:xfrm>
          <a:off x="10335131" y="2431515"/>
          <a:ext cx="115901" cy="1468058"/>
        </a:xfrm>
        <a:custGeom>
          <a:avLst/>
          <a:gdLst/>
          <a:ahLst/>
          <a:cxnLst/>
          <a:rect l="0" t="0" r="0" b="0"/>
          <a:pathLst>
            <a:path>
              <a:moveTo>
                <a:pt x="115901" y="0"/>
              </a:moveTo>
              <a:lnTo>
                <a:pt x="115901" y="1468058"/>
              </a:lnTo>
              <a:lnTo>
                <a:pt x="0" y="146805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B24ED9-AEA6-4719-9AAC-19425E50102E}">
      <dsp:nvSpPr>
        <dsp:cNvPr id="0" name=""/>
        <dsp:cNvSpPr/>
      </dsp:nvSpPr>
      <dsp:spPr>
        <a:xfrm>
          <a:off x="10451032" y="2431515"/>
          <a:ext cx="131505" cy="581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1029"/>
              </a:lnTo>
              <a:lnTo>
                <a:pt x="131505" y="581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BD74D-0A26-4504-89C2-C0CE0AB010B7}">
      <dsp:nvSpPr>
        <dsp:cNvPr id="0" name=""/>
        <dsp:cNvSpPr/>
      </dsp:nvSpPr>
      <dsp:spPr>
        <a:xfrm>
          <a:off x="10335131" y="2431515"/>
          <a:ext cx="115901" cy="581029"/>
        </a:xfrm>
        <a:custGeom>
          <a:avLst/>
          <a:gdLst/>
          <a:ahLst/>
          <a:cxnLst/>
          <a:rect l="0" t="0" r="0" b="0"/>
          <a:pathLst>
            <a:path>
              <a:moveTo>
                <a:pt x="115901" y="0"/>
              </a:moveTo>
              <a:lnTo>
                <a:pt x="115901" y="581029"/>
              </a:lnTo>
              <a:lnTo>
                <a:pt x="0" y="581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2852C6-20B4-46A2-B6DA-5FE9764A5987}">
      <dsp:nvSpPr>
        <dsp:cNvPr id="0" name=""/>
        <dsp:cNvSpPr/>
      </dsp:nvSpPr>
      <dsp:spPr>
        <a:xfrm>
          <a:off x="5935655" y="1544486"/>
          <a:ext cx="4515377" cy="2623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180"/>
              </a:lnTo>
              <a:lnTo>
                <a:pt x="4515377" y="131180"/>
              </a:lnTo>
              <a:lnTo>
                <a:pt x="4515377" y="26236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09995D-9ADF-410B-B9C8-980791CB2CCA}">
      <dsp:nvSpPr>
        <dsp:cNvPr id="0" name=""/>
        <dsp:cNvSpPr/>
      </dsp:nvSpPr>
      <dsp:spPr>
        <a:xfrm>
          <a:off x="7427635" y="2431515"/>
          <a:ext cx="146459" cy="2355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55088"/>
              </a:lnTo>
              <a:lnTo>
                <a:pt x="146459" y="235508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46EDD2-AE2D-4CCC-A153-7110360B9BEC}">
      <dsp:nvSpPr>
        <dsp:cNvPr id="0" name=""/>
        <dsp:cNvSpPr/>
      </dsp:nvSpPr>
      <dsp:spPr>
        <a:xfrm>
          <a:off x="7311734" y="2431515"/>
          <a:ext cx="115901" cy="2355088"/>
        </a:xfrm>
        <a:custGeom>
          <a:avLst/>
          <a:gdLst/>
          <a:ahLst/>
          <a:cxnLst/>
          <a:rect l="0" t="0" r="0" b="0"/>
          <a:pathLst>
            <a:path>
              <a:moveTo>
                <a:pt x="115901" y="0"/>
              </a:moveTo>
              <a:lnTo>
                <a:pt x="115901" y="2355088"/>
              </a:lnTo>
              <a:lnTo>
                <a:pt x="0" y="235508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79F611-1768-4DF1-92D2-2ABA33F52954}">
      <dsp:nvSpPr>
        <dsp:cNvPr id="0" name=""/>
        <dsp:cNvSpPr/>
      </dsp:nvSpPr>
      <dsp:spPr>
        <a:xfrm>
          <a:off x="7427635" y="2431515"/>
          <a:ext cx="146459" cy="14680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68058"/>
              </a:lnTo>
              <a:lnTo>
                <a:pt x="146459" y="146805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0BE9DB-483E-4D39-959E-0895D44A0731}">
      <dsp:nvSpPr>
        <dsp:cNvPr id="0" name=""/>
        <dsp:cNvSpPr/>
      </dsp:nvSpPr>
      <dsp:spPr>
        <a:xfrm>
          <a:off x="7311734" y="2431515"/>
          <a:ext cx="115901" cy="1468058"/>
        </a:xfrm>
        <a:custGeom>
          <a:avLst/>
          <a:gdLst/>
          <a:ahLst/>
          <a:cxnLst/>
          <a:rect l="0" t="0" r="0" b="0"/>
          <a:pathLst>
            <a:path>
              <a:moveTo>
                <a:pt x="115901" y="0"/>
              </a:moveTo>
              <a:lnTo>
                <a:pt x="115901" y="1468058"/>
              </a:lnTo>
              <a:lnTo>
                <a:pt x="0" y="146805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0AFB7F-2B1C-4F2F-90FD-534B3C5D185A}">
      <dsp:nvSpPr>
        <dsp:cNvPr id="0" name=""/>
        <dsp:cNvSpPr/>
      </dsp:nvSpPr>
      <dsp:spPr>
        <a:xfrm>
          <a:off x="7427635" y="2431515"/>
          <a:ext cx="146459" cy="581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1029"/>
              </a:lnTo>
              <a:lnTo>
                <a:pt x="146459" y="581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7938CB-A733-44C1-A071-6CDE35869C6C}">
      <dsp:nvSpPr>
        <dsp:cNvPr id="0" name=""/>
        <dsp:cNvSpPr/>
      </dsp:nvSpPr>
      <dsp:spPr>
        <a:xfrm>
          <a:off x="7311734" y="2431515"/>
          <a:ext cx="115901" cy="581029"/>
        </a:xfrm>
        <a:custGeom>
          <a:avLst/>
          <a:gdLst/>
          <a:ahLst/>
          <a:cxnLst/>
          <a:rect l="0" t="0" r="0" b="0"/>
          <a:pathLst>
            <a:path>
              <a:moveTo>
                <a:pt x="115901" y="0"/>
              </a:moveTo>
              <a:lnTo>
                <a:pt x="115901" y="581029"/>
              </a:lnTo>
              <a:lnTo>
                <a:pt x="0" y="581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B36B14-FDED-4614-BB74-97EE5BB8F52D}">
      <dsp:nvSpPr>
        <dsp:cNvPr id="0" name=""/>
        <dsp:cNvSpPr/>
      </dsp:nvSpPr>
      <dsp:spPr>
        <a:xfrm>
          <a:off x="5935655" y="1544486"/>
          <a:ext cx="1491980" cy="26236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1180"/>
              </a:lnTo>
              <a:lnTo>
                <a:pt x="1491980" y="131180"/>
              </a:lnTo>
              <a:lnTo>
                <a:pt x="1491980" y="26236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A12F56-B955-474C-A505-5319681CDCE2}">
      <dsp:nvSpPr>
        <dsp:cNvPr id="0" name=""/>
        <dsp:cNvSpPr/>
      </dsp:nvSpPr>
      <dsp:spPr>
        <a:xfrm>
          <a:off x="4436509" y="2431515"/>
          <a:ext cx="114189" cy="235508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55088"/>
              </a:lnTo>
              <a:lnTo>
                <a:pt x="114189" y="235508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B52E86-A6D3-49C2-97F6-2C4768AB09C8}">
      <dsp:nvSpPr>
        <dsp:cNvPr id="0" name=""/>
        <dsp:cNvSpPr/>
      </dsp:nvSpPr>
      <dsp:spPr>
        <a:xfrm>
          <a:off x="4288338" y="2431515"/>
          <a:ext cx="148171" cy="2355088"/>
        </a:xfrm>
        <a:custGeom>
          <a:avLst/>
          <a:gdLst/>
          <a:ahLst/>
          <a:cxnLst/>
          <a:rect l="0" t="0" r="0" b="0"/>
          <a:pathLst>
            <a:path>
              <a:moveTo>
                <a:pt x="148171" y="0"/>
              </a:moveTo>
              <a:lnTo>
                <a:pt x="148171" y="2355088"/>
              </a:lnTo>
              <a:lnTo>
                <a:pt x="0" y="235508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260DFB-585E-4A73-816C-F9AEEDDA9394}">
      <dsp:nvSpPr>
        <dsp:cNvPr id="0" name=""/>
        <dsp:cNvSpPr/>
      </dsp:nvSpPr>
      <dsp:spPr>
        <a:xfrm>
          <a:off x="4436509" y="2431515"/>
          <a:ext cx="114189" cy="146805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68058"/>
              </a:lnTo>
              <a:lnTo>
                <a:pt x="114189" y="146805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E74CAF-23C6-4A5D-A858-3A2C21F0676F}">
      <dsp:nvSpPr>
        <dsp:cNvPr id="0" name=""/>
        <dsp:cNvSpPr/>
      </dsp:nvSpPr>
      <dsp:spPr>
        <a:xfrm>
          <a:off x="4288338" y="2431515"/>
          <a:ext cx="148171" cy="1468058"/>
        </a:xfrm>
        <a:custGeom>
          <a:avLst/>
          <a:gdLst/>
          <a:ahLst/>
          <a:cxnLst/>
          <a:rect l="0" t="0" r="0" b="0"/>
          <a:pathLst>
            <a:path>
              <a:moveTo>
                <a:pt x="148171" y="0"/>
              </a:moveTo>
              <a:lnTo>
                <a:pt x="148171" y="1468058"/>
              </a:lnTo>
              <a:lnTo>
                <a:pt x="0" y="146805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203ED4-6493-487D-88B2-D43CA89A714C}">
      <dsp:nvSpPr>
        <dsp:cNvPr id="0" name=""/>
        <dsp:cNvSpPr/>
      </dsp:nvSpPr>
      <dsp:spPr>
        <a:xfrm>
          <a:off x="4436509" y="2431515"/>
          <a:ext cx="114189" cy="581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1029"/>
              </a:lnTo>
              <a:lnTo>
                <a:pt x="114189" y="581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A6A1AF-C065-491A-9B9F-6AC6C886A573}">
      <dsp:nvSpPr>
        <dsp:cNvPr id="0" name=""/>
        <dsp:cNvSpPr/>
      </dsp:nvSpPr>
      <dsp:spPr>
        <a:xfrm>
          <a:off x="4288338" y="2431515"/>
          <a:ext cx="148171" cy="581029"/>
        </a:xfrm>
        <a:custGeom>
          <a:avLst/>
          <a:gdLst/>
          <a:ahLst/>
          <a:cxnLst/>
          <a:rect l="0" t="0" r="0" b="0"/>
          <a:pathLst>
            <a:path>
              <a:moveTo>
                <a:pt x="148171" y="0"/>
              </a:moveTo>
              <a:lnTo>
                <a:pt x="148171" y="581029"/>
              </a:lnTo>
              <a:lnTo>
                <a:pt x="0" y="581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62CCC2-632D-47CD-A6FB-AF9328D9C4C3}">
      <dsp:nvSpPr>
        <dsp:cNvPr id="0" name=""/>
        <dsp:cNvSpPr/>
      </dsp:nvSpPr>
      <dsp:spPr>
        <a:xfrm>
          <a:off x="4436509" y="1544486"/>
          <a:ext cx="1499145" cy="262360"/>
        </a:xfrm>
        <a:custGeom>
          <a:avLst/>
          <a:gdLst/>
          <a:ahLst/>
          <a:cxnLst/>
          <a:rect l="0" t="0" r="0" b="0"/>
          <a:pathLst>
            <a:path>
              <a:moveTo>
                <a:pt x="1499145" y="0"/>
              </a:moveTo>
              <a:lnTo>
                <a:pt x="1499145" y="131180"/>
              </a:lnTo>
              <a:lnTo>
                <a:pt x="0" y="131180"/>
              </a:lnTo>
              <a:lnTo>
                <a:pt x="0" y="26236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13FAE0-9CEB-482E-BAA7-799105B372E0}">
      <dsp:nvSpPr>
        <dsp:cNvPr id="0" name=""/>
        <dsp:cNvSpPr/>
      </dsp:nvSpPr>
      <dsp:spPr>
        <a:xfrm>
          <a:off x="1413113" y="2431515"/>
          <a:ext cx="98910" cy="23574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57480"/>
              </a:lnTo>
              <a:lnTo>
                <a:pt x="98910" y="235748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2228D22-AB2C-4818-946A-805E3D87E56C}">
      <dsp:nvSpPr>
        <dsp:cNvPr id="0" name=""/>
        <dsp:cNvSpPr/>
      </dsp:nvSpPr>
      <dsp:spPr>
        <a:xfrm>
          <a:off x="1264941" y="2431515"/>
          <a:ext cx="148171" cy="2355088"/>
        </a:xfrm>
        <a:custGeom>
          <a:avLst/>
          <a:gdLst/>
          <a:ahLst/>
          <a:cxnLst/>
          <a:rect l="0" t="0" r="0" b="0"/>
          <a:pathLst>
            <a:path>
              <a:moveTo>
                <a:pt x="148171" y="0"/>
              </a:moveTo>
              <a:lnTo>
                <a:pt x="148171" y="2355088"/>
              </a:lnTo>
              <a:lnTo>
                <a:pt x="0" y="235508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5CF41C-8E65-4556-B698-9DE0FA9D7114}">
      <dsp:nvSpPr>
        <dsp:cNvPr id="0" name=""/>
        <dsp:cNvSpPr/>
      </dsp:nvSpPr>
      <dsp:spPr>
        <a:xfrm>
          <a:off x="1413113" y="2431515"/>
          <a:ext cx="98910" cy="1461724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61724"/>
              </a:lnTo>
              <a:lnTo>
                <a:pt x="98910" y="14617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95F404-0DA7-405E-81AE-25EEDEC41780}">
      <dsp:nvSpPr>
        <dsp:cNvPr id="0" name=""/>
        <dsp:cNvSpPr/>
      </dsp:nvSpPr>
      <dsp:spPr>
        <a:xfrm>
          <a:off x="1249662" y="2431515"/>
          <a:ext cx="163450" cy="1461724"/>
        </a:xfrm>
        <a:custGeom>
          <a:avLst/>
          <a:gdLst/>
          <a:ahLst/>
          <a:cxnLst/>
          <a:rect l="0" t="0" r="0" b="0"/>
          <a:pathLst>
            <a:path>
              <a:moveTo>
                <a:pt x="163450" y="0"/>
              </a:moveTo>
              <a:lnTo>
                <a:pt x="163450" y="1461724"/>
              </a:lnTo>
              <a:lnTo>
                <a:pt x="0" y="146172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8B994C-FFB3-4EA3-9D85-F30443BCB270}">
      <dsp:nvSpPr>
        <dsp:cNvPr id="0" name=""/>
        <dsp:cNvSpPr/>
      </dsp:nvSpPr>
      <dsp:spPr>
        <a:xfrm>
          <a:off x="1413113" y="2431515"/>
          <a:ext cx="114189" cy="5810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81029"/>
              </a:lnTo>
              <a:lnTo>
                <a:pt x="114189" y="581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4FE7E-1514-4596-B8CE-BCE54D5A582E}">
      <dsp:nvSpPr>
        <dsp:cNvPr id="0" name=""/>
        <dsp:cNvSpPr/>
      </dsp:nvSpPr>
      <dsp:spPr>
        <a:xfrm>
          <a:off x="1260281" y="2431515"/>
          <a:ext cx="152831" cy="581029"/>
        </a:xfrm>
        <a:custGeom>
          <a:avLst/>
          <a:gdLst/>
          <a:ahLst/>
          <a:cxnLst/>
          <a:rect l="0" t="0" r="0" b="0"/>
          <a:pathLst>
            <a:path>
              <a:moveTo>
                <a:pt x="152831" y="0"/>
              </a:moveTo>
              <a:lnTo>
                <a:pt x="152831" y="581029"/>
              </a:lnTo>
              <a:lnTo>
                <a:pt x="0" y="5810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2C4414-7EF3-4BAE-A19E-E52D628B3FAE}">
      <dsp:nvSpPr>
        <dsp:cNvPr id="0" name=""/>
        <dsp:cNvSpPr/>
      </dsp:nvSpPr>
      <dsp:spPr>
        <a:xfrm>
          <a:off x="1413113" y="1544486"/>
          <a:ext cx="4522541" cy="262360"/>
        </a:xfrm>
        <a:custGeom>
          <a:avLst/>
          <a:gdLst/>
          <a:ahLst/>
          <a:cxnLst/>
          <a:rect l="0" t="0" r="0" b="0"/>
          <a:pathLst>
            <a:path>
              <a:moveTo>
                <a:pt x="4522541" y="0"/>
              </a:moveTo>
              <a:lnTo>
                <a:pt x="4522541" y="131180"/>
              </a:lnTo>
              <a:lnTo>
                <a:pt x="0" y="131180"/>
              </a:lnTo>
              <a:lnTo>
                <a:pt x="0" y="26236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CB659-20FB-4FD5-BD59-4EDC1CFD706A}">
      <dsp:nvSpPr>
        <dsp:cNvPr id="0" name=""/>
        <dsp:cNvSpPr/>
      </dsp:nvSpPr>
      <dsp:spPr>
        <a:xfrm>
          <a:off x="5175583" y="796051"/>
          <a:ext cx="1520143" cy="748434"/>
        </a:xfrm>
        <a:prstGeom prst="rect">
          <a:avLst/>
        </a:prstGeom>
        <a:solidFill>
          <a:schemeClr val="accent1">
            <a:lumMod val="75000"/>
          </a:schemeClr>
        </a:solidFill>
        <a:ln w="381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Chief Logistics &amp; Processing Operations </a:t>
          </a:r>
          <a:r>
            <a:rPr lang="en-US" sz="900" b="0" kern="1200" dirty="0">
              <a:solidFill>
                <a:schemeClr val="bg1"/>
              </a:solidFill>
              <a:latin typeface="+mn-lt"/>
            </a:rPr>
            <a:t>Offic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Isaac Cronkhite</a:t>
          </a:r>
        </a:p>
      </dsp:txBody>
      <dsp:txXfrm>
        <a:off x="5175583" y="796051"/>
        <a:ext cx="1520143" cy="748434"/>
      </dsp:txXfrm>
    </dsp:sp>
    <dsp:sp modelId="{AC5FF851-1189-4F95-8351-A97A476B2246}">
      <dsp:nvSpPr>
        <dsp:cNvPr id="0" name=""/>
        <dsp:cNvSpPr/>
      </dsp:nvSpPr>
      <dsp:spPr>
        <a:xfrm>
          <a:off x="742924" y="1806846"/>
          <a:ext cx="1340376" cy="624668"/>
        </a:xfrm>
        <a:prstGeom prst="rect">
          <a:avLst/>
        </a:prstGeom>
        <a:solidFill>
          <a:schemeClr val="accent6">
            <a:lumMod val="75000"/>
          </a:schemeClr>
        </a:solidFill>
        <a:ln w="381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VP Processing &amp; Maintenance Operation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Mike Barber</a:t>
          </a:r>
        </a:p>
      </dsp:txBody>
      <dsp:txXfrm>
        <a:off x="742924" y="1806846"/>
        <a:ext cx="1340376" cy="624668"/>
      </dsp:txXfrm>
    </dsp:sp>
    <dsp:sp modelId="{857E5E5B-C52C-4438-9D5D-D1C33F85DC46}">
      <dsp:nvSpPr>
        <dsp:cNvPr id="0" name=""/>
        <dsp:cNvSpPr/>
      </dsp:nvSpPr>
      <dsp:spPr>
        <a:xfrm>
          <a:off x="10944" y="270021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Maintenance Operations HQ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Kevin Couch</a:t>
          </a:r>
        </a:p>
      </dsp:txBody>
      <dsp:txXfrm>
        <a:off x="10944" y="2700210"/>
        <a:ext cx="1249337" cy="624668"/>
      </dsp:txXfrm>
    </dsp:sp>
    <dsp:sp modelId="{36764980-1D1F-4C31-B763-CBCF535AD06A}">
      <dsp:nvSpPr>
        <dsp:cNvPr id="0" name=""/>
        <dsp:cNvSpPr/>
      </dsp:nvSpPr>
      <dsp:spPr>
        <a:xfrm>
          <a:off x="1527302" y="270021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eration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Kristina Reynoso</a:t>
          </a:r>
        </a:p>
      </dsp:txBody>
      <dsp:txXfrm>
        <a:off x="1527302" y="2700210"/>
        <a:ext cx="1249337" cy="624668"/>
      </dsp:txXfrm>
    </dsp:sp>
    <dsp:sp modelId="{F721A2C3-B74E-4B93-9D96-D10D55204BB2}">
      <dsp:nvSpPr>
        <dsp:cNvPr id="0" name=""/>
        <dsp:cNvSpPr/>
      </dsp:nvSpPr>
      <dsp:spPr>
        <a:xfrm>
          <a:off x="324" y="3580906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Strategic </a:t>
          </a:r>
          <a:r>
            <a:rPr lang="en-US" sz="900" kern="1200" dirty="0">
              <a:solidFill>
                <a:schemeClr val="bg1"/>
              </a:solidFill>
              <a:latin typeface="+mn-lt"/>
              <a:ea typeface="+mn-ea"/>
              <a:cs typeface="+mn-cs"/>
            </a:rPr>
            <a:t>Planning</a:t>
          </a:r>
          <a:r>
            <a:rPr lang="en-US" sz="900" kern="1200" dirty="0">
              <a:solidFill>
                <a:schemeClr val="bg1"/>
              </a:solidFill>
              <a:latin typeface="+mn-lt"/>
            </a:rPr>
            <a:t>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Jason DeChambeau</a:t>
          </a:r>
        </a:p>
      </dsp:txBody>
      <dsp:txXfrm>
        <a:off x="324" y="3580906"/>
        <a:ext cx="1249337" cy="624668"/>
      </dsp:txXfrm>
    </dsp:sp>
    <dsp:sp modelId="{0B3673FB-5A00-41D7-A466-568C6A22B051}">
      <dsp:nvSpPr>
        <dsp:cNvPr id="0" name=""/>
        <dsp:cNvSpPr/>
      </dsp:nvSpPr>
      <dsp:spPr>
        <a:xfrm>
          <a:off x="1512023" y="3580906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International Processing Op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Jeff Becker</a:t>
          </a:r>
        </a:p>
      </dsp:txBody>
      <dsp:txXfrm>
        <a:off x="1512023" y="3580906"/>
        <a:ext cx="1249337" cy="624668"/>
      </dsp:txXfrm>
    </dsp:sp>
    <dsp:sp modelId="{89953E0F-E104-42A0-9060-1313CAEAD95B}">
      <dsp:nvSpPr>
        <dsp:cNvPr id="0" name=""/>
        <dsp:cNvSpPr/>
      </dsp:nvSpPr>
      <dsp:spPr>
        <a:xfrm>
          <a:off x="15604" y="4474269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Operations Integration &amp; Suppor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Erika Ramirez</a:t>
          </a:r>
        </a:p>
      </dsp:txBody>
      <dsp:txXfrm>
        <a:off x="15604" y="4474269"/>
        <a:ext cx="1249337" cy="624668"/>
      </dsp:txXfrm>
    </dsp:sp>
    <dsp:sp modelId="{412D4FC7-B1E0-4CC8-869F-17AD104B4D58}">
      <dsp:nvSpPr>
        <dsp:cNvPr id="0" name=""/>
        <dsp:cNvSpPr/>
      </dsp:nvSpPr>
      <dsp:spPr>
        <a:xfrm>
          <a:off x="1512023" y="4476662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Operational </a:t>
          </a:r>
          <a:r>
            <a:rPr lang="en-US" sz="900" kern="1200" dirty="0">
              <a:solidFill>
                <a:schemeClr val="bg1"/>
              </a:solidFill>
              <a:latin typeface="+mn-lt"/>
              <a:ea typeface="+mn-ea"/>
              <a:cs typeface="+mn-cs"/>
            </a:rPr>
            <a:t>Excellence</a:t>
          </a:r>
          <a:r>
            <a:rPr lang="en-US" sz="900" kern="1200" dirty="0">
              <a:solidFill>
                <a:schemeClr val="bg1"/>
              </a:solidFill>
              <a:latin typeface="+mn-lt"/>
            </a:rPr>
            <a:t>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Julie Weiser</a:t>
          </a:r>
        </a:p>
      </dsp:txBody>
      <dsp:txXfrm>
        <a:off x="1512023" y="4476662"/>
        <a:ext cx="1249337" cy="624668"/>
      </dsp:txXfrm>
    </dsp:sp>
    <dsp:sp modelId="{43FE5B09-28AC-4B39-BFE9-1C78BB5E9846}">
      <dsp:nvSpPr>
        <dsp:cNvPr id="0" name=""/>
        <dsp:cNvSpPr/>
      </dsp:nvSpPr>
      <dsp:spPr>
        <a:xfrm>
          <a:off x="3745838" y="1806846"/>
          <a:ext cx="1381342" cy="624668"/>
        </a:xfrm>
        <a:prstGeom prst="rect">
          <a:avLst/>
        </a:prstGeom>
        <a:solidFill>
          <a:schemeClr val="accent6">
            <a:lumMod val="75000"/>
          </a:schemeClr>
        </a:solidFill>
        <a:ln w="381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VP Logistic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Robert Cintron</a:t>
          </a:r>
        </a:p>
      </dsp:txBody>
      <dsp:txXfrm>
        <a:off x="3745838" y="1806846"/>
        <a:ext cx="1381342" cy="624668"/>
      </dsp:txXfrm>
    </dsp:sp>
    <dsp:sp modelId="{A8A43A45-90AB-4F0B-9084-0D14C71D65E1}">
      <dsp:nvSpPr>
        <dsp:cNvPr id="0" name=""/>
        <dsp:cNvSpPr/>
      </dsp:nvSpPr>
      <dsp:spPr>
        <a:xfrm>
          <a:off x="3039000" y="270021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International Logistic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Claire Perez-Redondo</a:t>
          </a:r>
        </a:p>
      </dsp:txBody>
      <dsp:txXfrm>
        <a:off x="3039000" y="2700210"/>
        <a:ext cx="1249337" cy="624668"/>
      </dsp:txXfrm>
    </dsp:sp>
    <dsp:sp modelId="{18F5216A-D74D-45D9-8EB3-3C45223454C9}">
      <dsp:nvSpPr>
        <dsp:cNvPr id="0" name=""/>
        <dsp:cNvSpPr/>
      </dsp:nvSpPr>
      <dsp:spPr>
        <a:xfrm>
          <a:off x="4550699" y="270021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Air Logistic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Mary Taylor</a:t>
          </a:r>
        </a:p>
      </dsp:txBody>
      <dsp:txXfrm>
        <a:off x="4550699" y="2700210"/>
        <a:ext cx="1249337" cy="624668"/>
      </dsp:txXfrm>
    </dsp:sp>
    <dsp:sp modelId="{427A19DC-BCE0-44E5-BFEE-E56D90F4D79D}">
      <dsp:nvSpPr>
        <dsp:cNvPr id="0" name=""/>
        <dsp:cNvSpPr/>
      </dsp:nvSpPr>
      <dsp:spPr>
        <a:xfrm>
          <a:off x="3039000" y="358724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Surface Logistic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Brent Raney</a:t>
          </a:r>
        </a:p>
      </dsp:txBody>
      <dsp:txXfrm>
        <a:off x="3039000" y="3587240"/>
        <a:ext cx="1249337" cy="624668"/>
      </dsp:txXfrm>
    </dsp:sp>
    <dsp:sp modelId="{93931096-6600-46C3-98DA-74AC02AC0B71}">
      <dsp:nvSpPr>
        <dsp:cNvPr id="0" name=""/>
        <dsp:cNvSpPr/>
      </dsp:nvSpPr>
      <dsp:spPr>
        <a:xfrm>
          <a:off x="4550699" y="358724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Logistics &amp; Modeling Analytic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Stephen Hagenstein</a:t>
          </a:r>
        </a:p>
      </dsp:txBody>
      <dsp:txXfrm>
        <a:off x="4550699" y="3587240"/>
        <a:ext cx="1249337" cy="624668"/>
      </dsp:txXfrm>
    </dsp:sp>
    <dsp:sp modelId="{BF4F725A-972C-4E98-BF9C-89D197DEB066}">
      <dsp:nvSpPr>
        <dsp:cNvPr id="0" name=""/>
        <dsp:cNvSpPr/>
      </dsp:nvSpPr>
      <dsp:spPr>
        <a:xfrm>
          <a:off x="3039000" y="4474269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  <a:ea typeface="+mn-ea"/>
              <a:cs typeface="+mn-cs"/>
            </a:rPr>
            <a:t>Dir Regional Logistics  Eas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  <a:ea typeface="+mn-ea"/>
              <a:cs typeface="+mn-cs"/>
            </a:rPr>
            <a:t>Scott Raymond</a:t>
          </a:r>
          <a:endParaRPr lang="en-US" sz="900" b="1" kern="1200" dirty="0">
            <a:solidFill>
              <a:schemeClr val="bg1"/>
            </a:solidFill>
            <a:latin typeface="+mn-lt"/>
          </a:endParaRPr>
        </a:p>
      </dsp:txBody>
      <dsp:txXfrm>
        <a:off x="3039000" y="4474269"/>
        <a:ext cx="1249337" cy="624668"/>
      </dsp:txXfrm>
    </dsp:sp>
    <dsp:sp modelId="{B6B31DC6-278B-442A-B004-071F51C3CB41}">
      <dsp:nvSpPr>
        <dsp:cNvPr id="0" name=""/>
        <dsp:cNvSpPr/>
      </dsp:nvSpPr>
      <dsp:spPr>
        <a:xfrm>
          <a:off x="4550699" y="4474269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  <a:ea typeface="+mn-ea"/>
              <a:cs typeface="+mn-cs"/>
            </a:rPr>
            <a:t>Dir Regional Logistics Wes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  <a:ea typeface="+mn-ea"/>
              <a:cs typeface="+mn-cs"/>
            </a:rPr>
            <a:t>Larry Belair</a:t>
          </a:r>
        </a:p>
      </dsp:txBody>
      <dsp:txXfrm>
        <a:off x="4550699" y="4474269"/>
        <a:ext cx="1249337" cy="624668"/>
      </dsp:txXfrm>
    </dsp:sp>
    <dsp:sp modelId="{6F5EABE9-ADCF-4968-81B3-04689CB922B9}">
      <dsp:nvSpPr>
        <dsp:cNvPr id="0" name=""/>
        <dsp:cNvSpPr/>
      </dsp:nvSpPr>
      <dsp:spPr>
        <a:xfrm>
          <a:off x="6737982" y="1806846"/>
          <a:ext cx="1379305" cy="624668"/>
        </a:xfrm>
        <a:prstGeom prst="rect">
          <a:avLst/>
        </a:prstGeom>
        <a:solidFill>
          <a:schemeClr val="accent6">
            <a:lumMod val="75000"/>
          </a:schemeClr>
        </a:solidFill>
        <a:ln w="381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VP Regional Processing Operations Eastern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Dane Coleman</a:t>
          </a:r>
        </a:p>
      </dsp:txBody>
      <dsp:txXfrm>
        <a:off x="6737982" y="1806846"/>
        <a:ext cx="1379305" cy="624668"/>
      </dsp:txXfrm>
    </dsp:sp>
    <dsp:sp modelId="{77B0771F-7A97-4F55-B5C4-7CE3A24EA5FB}">
      <dsp:nvSpPr>
        <dsp:cNvPr id="0" name=""/>
        <dsp:cNvSpPr/>
      </dsp:nvSpPr>
      <dsp:spPr>
        <a:xfrm>
          <a:off x="6062397" y="270021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New England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Christine Young</a:t>
          </a:r>
        </a:p>
      </dsp:txBody>
      <dsp:txXfrm>
        <a:off x="6062397" y="2700210"/>
        <a:ext cx="1249337" cy="624668"/>
      </dsp:txXfrm>
    </dsp:sp>
    <dsp:sp modelId="{7F2C8B3F-CC73-4AF4-B493-142FDFBE4550}">
      <dsp:nvSpPr>
        <dsp:cNvPr id="0" name=""/>
        <dsp:cNvSpPr/>
      </dsp:nvSpPr>
      <dsp:spPr>
        <a:xfrm>
          <a:off x="7574095" y="270021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New York Metro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Stephen Humin</a:t>
          </a:r>
        </a:p>
      </dsp:txBody>
      <dsp:txXfrm>
        <a:off x="7574095" y="2700210"/>
        <a:ext cx="1249337" cy="624668"/>
      </dsp:txXfrm>
    </dsp:sp>
    <dsp:sp modelId="{A3E4031B-8BAB-4B77-A326-269F825A8EE1}">
      <dsp:nvSpPr>
        <dsp:cNvPr id="0" name=""/>
        <dsp:cNvSpPr/>
      </dsp:nvSpPr>
      <dsp:spPr>
        <a:xfrm>
          <a:off x="6062397" y="358724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Chesapeake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Dave Webster</a:t>
          </a:r>
        </a:p>
      </dsp:txBody>
      <dsp:txXfrm>
        <a:off x="6062397" y="3587240"/>
        <a:ext cx="1249337" cy="624668"/>
      </dsp:txXfrm>
    </dsp:sp>
    <dsp:sp modelId="{BC6D9694-E2FB-466A-9121-F6DA2CA4E423}">
      <dsp:nvSpPr>
        <dsp:cNvPr id="0" name=""/>
        <dsp:cNvSpPr/>
      </dsp:nvSpPr>
      <dsp:spPr>
        <a:xfrm>
          <a:off x="7574095" y="358724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Lakeshor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Scott Tosch</a:t>
          </a:r>
        </a:p>
      </dsp:txBody>
      <dsp:txXfrm>
        <a:off x="7574095" y="3587240"/>
        <a:ext cx="1249337" cy="624668"/>
      </dsp:txXfrm>
    </dsp:sp>
    <dsp:sp modelId="{34C6C65D-2FB2-4BC6-85E7-4981197D899A}">
      <dsp:nvSpPr>
        <dsp:cNvPr id="0" name=""/>
        <dsp:cNvSpPr/>
      </dsp:nvSpPr>
      <dsp:spPr>
        <a:xfrm>
          <a:off x="6062397" y="4474269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Division Mid-Atlantic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Sharon Young</a:t>
          </a:r>
        </a:p>
      </dsp:txBody>
      <dsp:txXfrm>
        <a:off x="6062397" y="4474269"/>
        <a:ext cx="1249337" cy="624668"/>
      </dsp:txXfrm>
    </dsp:sp>
    <dsp:sp modelId="{9B3E7BAB-573F-4360-9513-1138FF22520D}">
      <dsp:nvSpPr>
        <dsp:cNvPr id="0" name=""/>
        <dsp:cNvSpPr/>
      </dsp:nvSpPr>
      <dsp:spPr>
        <a:xfrm>
          <a:off x="7574095" y="4474269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Coastal Southeas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Mark Dahlstrom</a:t>
          </a:r>
        </a:p>
      </dsp:txBody>
      <dsp:txXfrm>
        <a:off x="7574095" y="4474269"/>
        <a:ext cx="1249337" cy="624668"/>
      </dsp:txXfrm>
    </dsp:sp>
    <dsp:sp modelId="{93A91F1D-7D22-4985-85A0-25585DC5988D}">
      <dsp:nvSpPr>
        <dsp:cNvPr id="0" name=""/>
        <dsp:cNvSpPr/>
      </dsp:nvSpPr>
      <dsp:spPr>
        <a:xfrm>
          <a:off x="9741408" y="1806846"/>
          <a:ext cx="1419247" cy="624668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VP Regional Processing Operations Western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Larry Munoz</a:t>
          </a:r>
        </a:p>
      </dsp:txBody>
      <dsp:txXfrm>
        <a:off x="9741408" y="1806846"/>
        <a:ext cx="1419247" cy="624668"/>
      </dsp:txXfrm>
    </dsp:sp>
    <dsp:sp modelId="{BD124048-E30E-4AF4-8927-D2BF6DF4E839}">
      <dsp:nvSpPr>
        <dsp:cNvPr id="0" name=""/>
        <dsp:cNvSpPr/>
      </dsp:nvSpPr>
      <dsp:spPr>
        <a:xfrm>
          <a:off x="9085793" y="270021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Westshore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Todd Hawkins</a:t>
          </a:r>
        </a:p>
      </dsp:txBody>
      <dsp:txXfrm>
        <a:off x="9085793" y="2700210"/>
        <a:ext cx="1249337" cy="624668"/>
      </dsp:txXfrm>
    </dsp:sp>
    <dsp:sp modelId="{24BC7984-6149-4663-938B-04A9C51DF1FB}">
      <dsp:nvSpPr>
        <dsp:cNvPr id="0" name=""/>
        <dsp:cNvSpPr/>
      </dsp:nvSpPr>
      <dsp:spPr>
        <a:xfrm>
          <a:off x="10582537" y="270021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      Mid-South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Chuck Sciurba</a:t>
          </a:r>
        </a:p>
      </dsp:txBody>
      <dsp:txXfrm>
        <a:off x="10582537" y="2700210"/>
        <a:ext cx="1249337" cy="624668"/>
      </dsp:txXfrm>
    </dsp:sp>
    <dsp:sp modelId="{59C16821-136A-42CE-A32E-53F10B407A80}">
      <dsp:nvSpPr>
        <dsp:cNvPr id="0" name=""/>
        <dsp:cNvSpPr/>
      </dsp:nvSpPr>
      <dsp:spPr>
        <a:xfrm>
          <a:off x="9085793" y="358724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Pacific Northwes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John Diperi</a:t>
          </a:r>
        </a:p>
      </dsp:txBody>
      <dsp:txXfrm>
        <a:off x="9085793" y="3587240"/>
        <a:ext cx="1249337" cy="624668"/>
      </dsp:txXfrm>
    </dsp:sp>
    <dsp:sp modelId="{29BFB6C1-D823-46CA-84D1-1520903300FC}">
      <dsp:nvSpPr>
        <dsp:cNvPr id="0" name=""/>
        <dsp:cNvSpPr/>
      </dsp:nvSpPr>
      <dsp:spPr>
        <a:xfrm>
          <a:off x="10582537" y="3587240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Southern Californi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Britton Soto</a:t>
          </a:r>
        </a:p>
      </dsp:txBody>
      <dsp:txXfrm>
        <a:off x="10582537" y="3587240"/>
        <a:ext cx="1249337" cy="624668"/>
      </dsp:txXfrm>
    </dsp:sp>
    <dsp:sp modelId="{51F33CE0-C792-43E6-9B95-4AA844009EE5}">
      <dsp:nvSpPr>
        <dsp:cNvPr id="0" name=""/>
        <dsp:cNvSpPr/>
      </dsp:nvSpPr>
      <dsp:spPr>
        <a:xfrm>
          <a:off x="9085793" y="4474269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Midwes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Rick Pivovar</a:t>
          </a:r>
        </a:p>
      </dsp:txBody>
      <dsp:txXfrm>
        <a:off x="9085793" y="4474269"/>
        <a:ext cx="1249337" cy="624668"/>
      </dsp:txXfrm>
    </dsp:sp>
    <dsp:sp modelId="{433408A7-7634-4E8E-BAFE-7CB90EE04D80}">
      <dsp:nvSpPr>
        <dsp:cNvPr id="0" name=""/>
        <dsp:cNvSpPr/>
      </dsp:nvSpPr>
      <dsp:spPr>
        <a:xfrm>
          <a:off x="10582537" y="4474269"/>
          <a:ext cx="1249337" cy="62466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Processing Ops Southwes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Larry Wagener</a:t>
          </a:r>
        </a:p>
      </dsp:txBody>
      <dsp:txXfrm>
        <a:off x="10582537" y="4474269"/>
        <a:ext cx="1249337" cy="62466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47D1B7-7FC0-4977-A36D-AD556BFE552D}">
      <dsp:nvSpPr>
        <dsp:cNvPr id="0" name=""/>
        <dsp:cNvSpPr/>
      </dsp:nvSpPr>
      <dsp:spPr>
        <a:xfrm>
          <a:off x="5481060" y="1188093"/>
          <a:ext cx="4502877" cy="3099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654"/>
              </a:lnTo>
              <a:lnTo>
                <a:pt x="4502877" y="113654"/>
              </a:lnTo>
              <a:lnTo>
                <a:pt x="4502877" y="3099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0BE9DB-483E-4D39-959E-0895D44A0731}">
      <dsp:nvSpPr>
        <dsp:cNvPr id="0" name=""/>
        <dsp:cNvSpPr/>
      </dsp:nvSpPr>
      <dsp:spPr>
        <a:xfrm>
          <a:off x="7664142" y="2432781"/>
          <a:ext cx="109495" cy="2175734"/>
        </a:xfrm>
        <a:custGeom>
          <a:avLst/>
          <a:gdLst/>
          <a:ahLst/>
          <a:cxnLst/>
          <a:rect l="0" t="0" r="0" b="0"/>
          <a:pathLst>
            <a:path>
              <a:moveTo>
                <a:pt x="109495" y="0"/>
              </a:moveTo>
              <a:lnTo>
                <a:pt x="109495" y="2175734"/>
              </a:lnTo>
              <a:lnTo>
                <a:pt x="0" y="2175734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0AFB7F-2B1C-4F2F-90FD-534B3C5D185A}">
      <dsp:nvSpPr>
        <dsp:cNvPr id="0" name=""/>
        <dsp:cNvSpPr/>
      </dsp:nvSpPr>
      <dsp:spPr>
        <a:xfrm>
          <a:off x="7773637" y="2432781"/>
          <a:ext cx="219158" cy="86943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69437"/>
              </a:lnTo>
              <a:lnTo>
                <a:pt x="219158" y="8694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7938CB-A733-44C1-A071-6CDE35869C6C}">
      <dsp:nvSpPr>
        <dsp:cNvPr id="0" name=""/>
        <dsp:cNvSpPr/>
      </dsp:nvSpPr>
      <dsp:spPr>
        <a:xfrm>
          <a:off x="7676069" y="2432781"/>
          <a:ext cx="97567" cy="869437"/>
        </a:xfrm>
        <a:custGeom>
          <a:avLst/>
          <a:gdLst/>
          <a:ahLst/>
          <a:cxnLst/>
          <a:rect l="0" t="0" r="0" b="0"/>
          <a:pathLst>
            <a:path>
              <a:moveTo>
                <a:pt x="97567" y="0"/>
              </a:moveTo>
              <a:lnTo>
                <a:pt x="97567" y="869437"/>
              </a:lnTo>
              <a:lnTo>
                <a:pt x="0" y="8694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B36B14-FDED-4614-BB74-97EE5BB8F52D}">
      <dsp:nvSpPr>
        <dsp:cNvPr id="0" name=""/>
        <dsp:cNvSpPr/>
      </dsp:nvSpPr>
      <dsp:spPr>
        <a:xfrm>
          <a:off x="5481060" y="1188093"/>
          <a:ext cx="2292576" cy="30994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3654"/>
              </a:lnTo>
              <a:lnTo>
                <a:pt x="2292576" y="113654"/>
              </a:lnTo>
              <a:lnTo>
                <a:pt x="2292576" y="3099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BB52E86-A6D3-49C2-97F6-2C4768AB09C8}">
      <dsp:nvSpPr>
        <dsp:cNvPr id="0" name=""/>
        <dsp:cNvSpPr/>
      </dsp:nvSpPr>
      <dsp:spPr>
        <a:xfrm>
          <a:off x="3249504" y="2432781"/>
          <a:ext cx="167392" cy="8915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91562"/>
              </a:lnTo>
              <a:lnTo>
                <a:pt x="167392" y="89156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A6A1AF-C065-491A-9B9F-6AC6C886A573}">
      <dsp:nvSpPr>
        <dsp:cNvPr id="0" name=""/>
        <dsp:cNvSpPr/>
      </dsp:nvSpPr>
      <dsp:spPr>
        <a:xfrm>
          <a:off x="3099235" y="2432781"/>
          <a:ext cx="150268" cy="891562"/>
        </a:xfrm>
        <a:custGeom>
          <a:avLst/>
          <a:gdLst/>
          <a:ahLst/>
          <a:cxnLst/>
          <a:rect l="0" t="0" r="0" b="0"/>
          <a:pathLst>
            <a:path>
              <a:moveTo>
                <a:pt x="150268" y="0"/>
              </a:moveTo>
              <a:lnTo>
                <a:pt x="150268" y="891562"/>
              </a:lnTo>
              <a:lnTo>
                <a:pt x="0" y="89156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62CCC2-632D-47CD-A6FB-AF9328D9C4C3}">
      <dsp:nvSpPr>
        <dsp:cNvPr id="0" name=""/>
        <dsp:cNvSpPr/>
      </dsp:nvSpPr>
      <dsp:spPr>
        <a:xfrm>
          <a:off x="3249504" y="1188093"/>
          <a:ext cx="2231556" cy="309949"/>
        </a:xfrm>
        <a:custGeom>
          <a:avLst/>
          <a:gdLst/>
          <a:ahLst/>
          <a:cxnLst/>
          <a:rect l="0" t="0" r="0" b="0"/>
          <a:pathLst>
            <a:path>
              <a:moveTo>
                <a:pt x="2231556" y="0"/>
              </a:moveTo>
              <a:lnTo>
                <a:pt x="2231556" y="113654"/>
              </a:lnTo>
              <a:lnTo>
                <a:pt x="0" y="113654"/>
              </a:lnTo>
              <a:lnTo>
                <a:pt x="0" y="30994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2C4414-7EF3-4BAE-A19E-E52D628B3FAE}">
      <dsp:nvSpPr>
        <dsp:cNvPr id="0" name=""/>
        <dsp:cNvSpPr/>
      </dsp:nvSpPr>
      <dsp:spPr>
        <a:xfrm>
          <a:off x="1099231" y="1188093"/>
          <a:ext cx="4381829" cy="307098"/>
        </a:xfrm>
        <a:custGeom>
          <a:avLst/>
          <a:gdLst/>
          <a:ahLst/>
          <a:cxnLst/>
          <a:rect l="0" t="0" r="0" b="0"/>
          <a:pathLst>
            <a:path>
              <a:moveTo>
                <a:pt x="4381829" y="0"/>
              </a:moveTo>
              <a:lnTo>
                <a:pt x="4381829" y="110803"/>
              </a:lnTo>
              <a:lnTo>
                <a:pt x="0" y="110803"/>
              </a:lnTo>
              <a:lnTo>
                <a:pt x="0" y="307098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CB659-20FB-4FD5-BD59-4EDC1CFD706A}">
      <dsp:nvSpPr>
        <dsp:cNvPr id="0" name=""/>
        <dsp:cNvSpPr/>
      </dsp:nvSpPr>
      <dsp:spPr>
        <a:xfrm>
          <a:off x="4546322" y="253355"/>
          <a:ext cx="1869476" cy="934738"/>
        </a:xfrm>
        <a:prstGeom prst="rect">
          <a:avLst/>
        </a:prstGeom>
        <a:solidFill>
          <a:schemeClr val="accent1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Chief Information Officer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Pritha Mehra</a:t>
          </a:r>
        </a:p>
      </dsp:txBody>
      <dsp:txXfrm>
        <a:off x="4546322" y="253355"/>
        <a:ext cx="1869476" cy="934738"/>
      </dsp:txXfrm>
    </dsp:sp>
    <dsp:sp modelId="{AC5FF851-1189-4F95-8351-A97A476B2246}">
      <dsp:nvSpPr>
        <dsp:cNvPr id="0" name=""/>
        <dsp:cNvSpPr/>
      </dsp:nvSpPr>
      <dsp:spPr>
        <a:xfrm>
          <a:off x="164493" y="1495192"/>
          <a:ext cx="1869476" cy="934738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VP Network &amp; </a:t>
          </a:r>
          <a:br>
            <a:rPr lang="en-US" sz="900" kern="1200" dirty="0">
              <a:solidFill>
                <a:schemeClr val="bg1"/>
              </a:solidFill>
            </a:rPr>
          </a:br>
          <a:r>
            <a:rPr lang="en-US" sz="900" kern="1200" dirty="0">
              <a:solidFill>
                <a:schemeClr val="bg1"/>
              </a:solidFill>
            </a:rPr>
            <a:t>Compute Technology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William Koetz</a:t>
          </a:r>
          <a:endParaRPr lang="en-US" sz="900" kern="1200" dirty="0">
            <a:solidFill>
              <a:schemeClr val="bg1"/>
            </a:solidFill>
          </a:endParaRPr>
        </a:p>
      </dsp:txBody>
      <dsp:txXfrm>
        <a:off x="164493" y="1495192"/>
        <a:ext cx="1869476" cy="934738"/>
      </dsp:txXfrm>
    </dsp:sp>
    <dsp:sp modelId="{43FE5B09-28AC-4B39-BFE9-1C78BB5E9846}">
      <dsp:nvSpPr>
        <dsp:cNvPr id="0" name=""/>
        <dsp:cNvSpPr/>
      </dsp:nvSpPr>
      <dsp:spPr>
        <a:xfrm>
          <a:off x="2314765" y="1498043"/>
          <a:ext cx="1869476" cy="934738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VP Chief Information Security Offic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Gregory Crabb</a:t>
          </a:r>
        </a:p>
      </dsp:txBody>
      <dsp:txXfrm>
        <a:off x="2314765" y="1498043"/>
        <a:ext cx="1869476" cy="934738"/>
      </dsp:txXfrm>
    </dsp:sp>
    <dsp:sp modelId="{A8A43A45-90AB-4F0B-9084-0D14C71D65E1}">
      <dsp:nvSpPr>
        <dsp:cNvPr id="0" name=""/>
        <dsp:cNvSpPr/>
      </dsp:nvSpPr>
      <dsp:spPr>
        <a:xfrm>
          <a:off x="1229758" y="2856975"/>
          <a:ext cx="1869476" cy="934738"/>
        </a:xfrm>
        <a:prstGeom prst="rect">
          <a:avLst/>
        </a:prstGeom>
        <a:solidFill>
          <a:schemeClr val="accent4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eputy CISO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Chris Nielsen</a:t>
          </a:r>
        </a:p>
      </dsp:txBody>
      <dsp:txXfrm>
        <a:off x="1229758" y="2856975"/>
        <a:ext cx="1869476" cy="934738"/>
      </dsp:txXfrm>
    </dsp:sp>
    <dsp:sp modelId="{BF4F725A-972C-4E98-BF9C-89D197DEB066}">
      <dsp:nvSpPr>
        <dsp:cNvPr id="0" name=""/>
        <dsp:cNvSpPr/>
      </dsp:nvSpPr>
      <dsp:spPr>
        <a:xfrm>
          <a:off x="3416896" y="2856975"/>
          <a:ext cx="1869476" cy="93473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ir Identity and Access Management/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Dorin Methfessel </a:t>
          </a:r>
          <a:endParaRPr lang="en-US" sz="900" kern="1200" dirty="0">
            <a:solidFill>
              <a:schemeClr val="bg1"/>
            </a:solidFill>
          </a:endParaRPr>
        </a:p>
      </dsp:txBody>
      <dsp:txXfrm>
        <a:off x="3416896" y="2856975"/>
        <a:ext cx="1869476" cy="934738"/>
      </dsp:txXfrm>
    </dsp:sp>
    <dsp:sp modelId="{6F5EABE9-ADCF-4968-81B3-04689CB922B9}">
      <dsp:nvSpPr>
        <dsp:cNvPr id="0" name=""/>
        <dsp:cNvSpPr/>
      </dsp:nvSpPr>
      <dsp:spPr>
        <a:xfrm>
          <a:off x="6838899" y="1498043"/>
          <a:ext cx="1869476" cy="934738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VP Technology Application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Marc McCrery</a:t>
          </a:r>
        </a:p>
      </dsp:txBody>
      <dsp:txXfrm>
        <a:off x="6838899" y="1498043"/>
        <a:ext cx="1869476" cy="934738"/>
      </dsp:txXfrm>
    </dsp:sp>
    <dsp:sp modelId="{77B0771F-7A97-4F55-B5C4-7CE3A24EA5FB}">
      <dsp:nvSpPr>
        <dsp:cNvPr id="0" name=""/>
        <dsp:cNvSpPr/>
      </dsp:nvSpPr>
      <dsp:spPr>
        <a:xfrm>
          <a:off x="5806592" y="2834850"/>
          <a:ext cx="1869476" cy="934738"/>
        </a:xfrm>
        <a:prstGeom prst="rect">
          <a:avLst/>
        </a:prstGeom>
        <a:solidFill>
          <a:schemeClr val="accent2">
            <a:lumMod val="50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Exec Dir Application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John P Byrne</a:t>
          </a:r>
        </a:p>
      </dsp:txBody>
      <dsp:txXfrm>
        <a:off x="5806592" y="2834850"/>
        <a:ext cx="1869476" cy="934738"/>
      </dsp:txXfrm>
    </dsp:sp>
    <dsp:sp modelId="{7F2C8B3F-CC73-4AF4-B493-142FDFBE4550}">
      <dsp:nvSpPr>
        <dsp:cNvPr id="0" name=""/>
        <dsp:cNvSpPr/>
      </dsp:nvSpPr>
      <dsp:spPr>
        <a:xfrm>
          <a:off x="7992796" y="2834850"/>
          <a:ext cx="1869476" cy="93473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Commercial Paymen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Lisa H Arcari</a:t>
          </a:r>
        </a:p>
      </dsp:txBody>
      <dsp:txXfrm>
        <a:off x="7992796" y="2834850"/>
        <a:ext cx="1869476" cy="934738"/>
      </dsp:txXfrm>
    </dsp:sp>
    <dsp:sp modelId="{A3E4031B-8BAB-4B77-A326-269F825A8EE1}">
      <dsp:nvSpPr>
        <dsp:cNvPr id="0" name=""/>
        <dsp:cNvSpPr/>
      </dsp:nvSpPr>
      <dsp:spPr>
        <a:xfrm>
          <a:off x="5794665" y="4141147"/>
          <a:ext cx="1869476" cy="934738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  <a:latin typeface="+mn-lt"/>
            </a:rPr>
            <a:t>Dir Commercial System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  <a:latin typeface="+mn-lt"/>
            </a:rPr>
            <a:t>Vicki M Bosch</a:t>
          </a:r>
        </a:p>
      </dsp:txBody>
      <dsp:txXfrm>
        <a:off x="5794665" y="4141147"/>
        <a:ext cx="1869476" cy="934738"/>
      </dsp:txXfrm>
    </dsp:sp>
    <dsp:sp modelId="{DCBFA766-EA63-4B1A-8B1A-B5ED05ED7FBD}">
      <dsp:nvSpPr>
        <dsp:cNvPr id="0" name=""/>
        <dsp:cNvSpPr/>
      </dsp:nvSpPr>
      <dsp:spPr>
        <a:xfrm>
          <a:off x="9049200" y="1498043"/>
          <a:ext cx="1869476" cy="934738"/>
        </a:xfrm>
        <a:prstGeom prst="rect">
          <a:avLst/>
        </a:prstGeom>
        <a:solidFill>
          <a:srgbClr val="ED7D31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Dir IT Architecture &amp; Strategy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Jerry Wheeler</a:t>
          </a:r>
        </a:p>
      </dsp:txBody>
      <dsp:txXfrm>
        <a:off x="9049200" y="1498043"/>
        <a:ext cx="1869476" cy="934738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FE875C-E146-4181-A2BE-0EABCD2A558F}">
      <dsp:nvSpPr>
        <dsp:cNvPr id="0" name=""/>
        <dsp:cNvSpPr/>
      </dsp:nvSpPr>
      <dsp:spPr>
        <a:xfrm>
          <a:off x="6199090" y="944050"/>
          <a:ext cx="4883630" cy="2966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4816"/>
              </a:lnTo>
              <a:lnTo>
                <a:pt x="4883630" y="174816"/>
              </a:lnTo>
              <a:lnTo>
                <a:pt x="4883630" y="29662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B232EF-2D1D-49CB-9869-94894A759754}">
      <dsp:nvSpPr>
        <dsp:cNvPr id="0" name=""/>
        <dsp:cNvSpPr/>
      </dsp:nvSpPr>
      <dsp:spPr>
        <a:xfrm>
          <a:off x="9600675" y="1825766"/>
          <a:ext cx="153001" cy="2962296"/>
        </a:xfrm>
        <a:custGeom>
          <a:avLst/>
          <a:gdLst/>
          <a:ahLst/>
          <a:cxnLst/>
          <a:rect l="0" t="0" r="0" b="0"/>
          <a:pathLst>
            <a:path>
              <a:moveTo>
                <a:pt x="153001" y="0"/>
              </a:moveTo>
              <a:lnTo>
                <a:pt x="153001" y="2962296"/>
              </a:lnTo>
              <a:lnTo>
                <a:pt x="0" y="296229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180CF6A-AD39-4810-94ED-3BA4F0BB8147}">
      <dsp:nvSpPr>
        <dsp:cNvPr id="0" name=""/>
        <dsp:cNvSpPr/>
      </dsp:nvSpPr>
      <dsp:spPr>
        <a:xfrm>
          <a:off x="9707956" y="1825766"/>
          <a:ext cx="91440" cy="130551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305511"/>
              </a:lnTo>
              <a:lnTo>
                <a:pt x="136332" y="130551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0D3BB45-9D19-4703-88C2-66BEE4E2B973}">
      <dsp:nvSpPr>
        <dsp:cNvPr id="0" name=""/>
        <dsp:cNvSpPr/>
      </dsp:nvSpPr>
      <dsp:spPr>
        <a:xfrm>
          <a:off x="9617856" y="1825766"/>
          <a:ext cx="135820" cy="2319016"/>
        </a:xfrm>
        <a:custGeom>
          <a:avLst/>
          <a:gdLst/>
          <a:ahLst/>
          <a:cxnLst/>
          <a:rect l="0" t="0" r="0" b="0"/>
          <a:pathLst>
            <a:path>
              <a:moveTo>
                <a:pt x="135820" y="0"/>
              </a:moveTo>
              <a:lnTo>
                <a:pt x="135820" y="2319016"/>
              </a:lnTo>
              <a:lnTo>
                <a:pt x="0" y="231901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B24ED9-AEA6-4719-9AAC-19425E50102E}">
      <dsp:nvSpPr>
        <dsp:cNvPr id="0" name=""/>
        <dsp:cNvSpPr/>
      </dsp:nvSpPr>
      <dsp:spPr>
        <a:xfrm>
          <a:off x="9707956" y="1825766"/>
          <a:ext cx="91440" cy="53933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39332"/>
              </a:lnTo>
              <a:lnTo>
                <a:pt x="122446" y="53933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BD74D-0A26-4504-89C2-C0CE0AB010B7}">
      <dsp:nvSpPr>
        <dsp:cNvPr id="0" name=""/>
        <dsp:cNvSpPr/>
      </dsp:nvSpPr>
      <dsp:spPr>
        <a:xfrm>
          <a:off x="9600675" y="1825766"/>
          <a:ext cx="153001" cy="539541"/>
        </a:xfrm>
        <a:custGeom>
          <a:avLst/>
          <a:gdLst/>
          <a:ahLst/>
          <a:cxnLst/>
          <a:rect l="0" t="0" r="0" b="0"/>
          <a:pathLst>
            <a:path>
              <a:moveTo>
                <a:pt x="153001" y="0"/>
              </a:moveTo>
              <a:lnTo>
                <a:pt x="153001" y="539541"/>
              </a:lnTo>
              <a:lnTo>
                <a:pt x="0" y="53954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2852C6-20B4-46A2-B6DA-5FE9764A5987}">
      <dsp:nvSpPr>
        <dsp:cNvPr id="0" name=""/>
        <dsp:cNvSpPr/>
      </dsp:nvSpPr>
      <dsp:spPr>
        <a:xfrm>
          <a:off x="6199090" y="944050"/>
          <a:ext cx="3554586" cy="3016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874"/>
              </a:lnTo>
              <a:lnTo>
                <a:pt x="3554586" y="179874"/>
              </a:lnTo>
              <a:lnTo>
                <a:pt x="3554586" y="30168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3F60D4C-C526-4F49-B3E8-E06249817A96}">
      <dsp:nvSpPr>
        <dsp:cNvPr id="0" name=""/>
        <dsp:cNvSpPr/>
      </dsp:nvSpPr>
      <dsp:spPr>
        <a:xfrm>
          <a:off x="6771096" y="1825766"/>
          <a:ext cx="175216" cy="2946508"/>
        </a:xfrm>
        <a:custGeom>
          <a:avLst/>
          <a:gdLst/>
          <a:ahLst/>
          <a:cxnLst/>
          <a:rect l="0" t="0" r="0" b="0"/>
          <a:pathLst>
            <a:path>
              <a:moveTo>
                <a:pt x="175216" y="0"/>
              </a:moveTo>
              <a:lnTo>
                <a:pt x="175216" y="2946508"/>
              </a:lnTo>
              <a:lnTo>
                <a:pt x="0" y="294650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5B3E0A9-DA86-4F99-8CB2-5CBC406D00D0}">
      <dsp:nvSpPr>
        <dsp:cNvPr id="0" name=""/>
        <dsp:cNvSpPr/>
      </dsp:nvSpPr>
      <dsp:spPr>
        <a:xfrm>
          <a:off x="6900592" y="1825766"/>
          <a:ext cx="91440" cy="223836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2238368"/>
              </a:lnTo>
              <a:lnTo>
                <a:pt x="122145" y="223836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F09995D-9ADF-410B-B9C8-980791CB2CCA}">
      <dsp:nvSpPr>
        <dsp:cNvPr id="0" name=""/>
        <dsp:cNvSpPr/>
      </dsp:nvSpPr>
      <dsp:spPr>
        <a:xfrm>
          <a:off x="6771096" y="1825766"/>
          <a:ext cx="175216" cy="2235572"/>
        </a:xfrm>
        <a:custGeom>
          <a:avLst/>
          <a:gdLst/>
          <a:ahLst/>
          <a:cxnLst/>
          <a:rect l="0" t="0" r="0" b="0"/>
          <a:pathLst>
            <a:path>
              <a:moveTo>
                <a:pt x="175216" y="0"/>
              </a:moveTo>
              <a:lnTo>
                <a:pt x="175216" y="2235572"/>
              </a:lnTo>
              <a:lnTo>
                <a:pt x="0" y="223557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46EDD2-AE2D-4CCC-A153-7110360B9BEC}">
      <dsp:nvSpPr>
        <dsp:cNvPr id="0" name=""/>
        <dsp:cNvSpPr/>
      </dsp:nvSpPr>
      <dsp:spPr>
        <a:xfrm>
          <a:off x="6946312" y="1825766"/>
          <a:ext cx="106969" cy="135516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55162"/>
              </a:lnTo>
              <a:lnTo>
                <a:pt x="106969" y="135516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679F611-1768-4DF1-92D2-2ABA33F52954}">
      <dsp:nvSpPr>
        <dsp:cNvPr id="0" name=""/>
        <dsp:cNvSpPr/>
      </dsp:nvSpPr>
      <dsp:spPr>
        <a:xfrm>
          <a:off x="6793311" y="1825766"/>
          <a:ext cx="153001" cy="1350771"/>
        </a:xfrm>
        <a:custGeom>
          <a:avLst/>
          <a:gdLst/>
          <a:ahLst/>
          <a:cxnLst/>
          <a:rect l="0" t="0" r="0" b="0"/>
          <a:pathLst>
            <a:path>
              <a:moveTo>
                <a:pt x="153001" y="0"/>
              </a:moveTo>
              <a:lnTo>
                <a:pt x="153001" y="1350771"/>
              </a:lnTo>
              <a:lnTo>
                <a:pt x="0" y="135077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0AFB7F-2B1C-4F2F-90FD-534B3C5D185A}">
      <dsp:nvSpPr>
        <dsp:cNvPr id="0" name=""/>
        <dsp:cNvSpPr/>
      </dsp:nvSpPr>
      <dsp:spPr>
        <a:xfrm>
          <a:off x="6946312" y="1825766"/>
          <a:ext cx="92422" cy="53954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9541"/>
              </a:lnTo>
              <a:lnTo>
                <a:pt x="92422" y="53954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7938CB-A733-44C1-A071-6CDE35869C6C}">
      <dsp:nvSpPr>
        <dsp:cNvPr id="0" name=""/>
        <dsp:cNvSpPr/>
      </dsp:nvSpPr>
      <dsp:spPr>
        <a:xfrm>
          <a:off x="6820501" y="1825766"/>
          <a:ext cx="91440" cy="539541"/>
        </a:xfrm>
        <a:custGeom>
          <a:avLst/>
          <a:gdLst/>
          <a:ahLst/>
          <a:cxnLst/>
          <a:rect l="0" t="0" r="0" b="0"/>
          <a:pathLst>
            <a:path>
              <a:moveTo>
                <a:pt x="125811" y="0"/>
              </a:moveTo>
              <a:lnTo>
                <a:pt x="125811" y="539541"/>
              </a:lnTo>
              <a:lnTo>
                <a:pt x="45720" y="53954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B36B14-FDED-4614-BB74-97EE5BB8F52D}">
      <dsp:nvSpPr>
        <dsp:cNvPr id="0" name=""/>
        <dsp:cNvSpPr/>
      </dsp:nvSpPr>
      <dsp:spPr>
        <a:xfrm>
          <a:off x="6199090" y="944050"/>
          <a:ext cx="747222" cy="30168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9874"/>
              </a:lnTo>
              <a:lnTo>
                <a:pt x="747222" y="179874"/>
              </a:lnTo>
              <a:lnTo>
                <a:pt x="747222" y="30168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705EA0-ACCA-48DF-9172-3EAFB681551B}">
      <dsp:nvSpPr>
        <dsp:cNvPr id="0" name=""/>
        <dsp:cNvSpPr/>
      </dsp:nvSpPr>
      <dsp:spPr>
        <a:xfrm>
          <a:off x="4138948" y="1825766"/>
          <a:ext cx="138662" cy="128924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289247"/>
              </a:lnTo>
              <a:lnTo>
                <a:pt x="138662" y="128924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4260DFB-585E-4A73-816C-F9AEEDDA9394}">
      <dsp:nvSpPr>
        <dsp:cNvPr id="0" name=""/>
        <dsp:cNvSpPr/>
      </dsp:nvSpPr>
      <dsp:spPr>
        <a:xfrm>
          <a:off x="3979799" y="1825766"/>
          <a:ext cx="159149" cy="1292941"/>
        </a:xfrm>
        <a:custGeom>
          <a:avLst/>
          <a:gdLst/>
          <a:ahLst/>
          <a:cxnLst/>
          <a:rect l="0" t="0" r="0" b="0"/>
          <a:pathLst>
            <a:path>
              <a:moveTo>
                <a:pt x="159149" y="0"/>
              </a:moveTo>
              <a:lnTo>
                <a:pt x="159149" y="1292941"/>
              </a:lnTo>
              <a:lnTo>
                <a:pt x="0" y="129294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C203ED4-6493-487D-88B2-D43CA89A714C}">
      <dsp:nvSpPr>
        <dsp:cNvPr id="0" name=""/>
        <dsp:cNvSpPr/>
      </dsp:nvSpPr>
      <dsp:spPr>
        <a:xfrm>
          <a:off x="4093228" y="1825766"/>
          <a:ext cx="91440" cy="539541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539541"/>
              </a:lnTo>
              <a:lnTo>
                <a:pt x="130184" y="53954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3A6A1AF-C065-491A-9B9F-6AC6C886A573}">
      <dsp:nvSpPr>
        <dsp:cNvPr id="0" name=""/>
        <dsp:cNvSpPr/>
      </dsp:nvSpPr>
      <dsp:spPr>
        <a:xfrm>
          <a:off x="4031329" y="1825766"/>
          <a:ext cx="107619" cy="539541"/>
        </a:xfrm>
        <a:custGeom>
          <a:avLst/>
          <a:gdLst/>
          <a:ahLst/>
          <a:cxnLst/>
          <a:rect l="0" t="0" r="0" b="0"/>
          <a:pathLst>
            <a:path>
              <a:moveTo>
                <a:pt x="107619" y="0"/>
              </a:moveTo>
              <a:lnTo>
                <a:pt x="107619" y="539541"/>
              </a:lnTo>
              <a:lnTo>
                <a:pt x="0" y="53954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62CCC2-632D-47CD-A6FB-AF9328D9C4C3}">
      <dsp:nvSpPr>
        <dsp:cNvPr id="0" name=""/>
        <dsp:cNvSpPr/>
      </dsp:nvSpPr>
      <dsp:spPr>
        <a:xfrm>
          <a:off x="4138948" y="944050"/>
          <a:ext cx="2060141" cy="301681"/>
        </a:xfrm>
        <a:custGeom>
          <a:avLst/>
          <a:gdLst/>
          <a:ahLst/>
          <a:cxnLst/>
          <a:rect l="0" t="0" r="0" b="0"/>
          <a:pathLst>
            <a:path>
              <a:moveTo>
                <a:pt x="2060141" y="0"/>
              </a:moveTo>
              <a:lnTo>
                <a:pt x="2060141" y="179874"/>
              </a:lnTo>
              <a:lnTo>
                <a:pt x="0" y="179874"/>
              </a:lnTo>
              <a:lnTo>
                <a:pt x="0" y="30168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795F404-0DA7-405E-81AE-25EEDEC41780}">
      <dsp:nvSpPr>
        <dsp:cNvPr id="0" name=""/>
        <dsp:cNvSpPr/>
      </dsp:nvSpPr>
      <dsp:spPr>
        <a:xfrm>
          <a:off x="1226295" y="1825766"/>
          <a:ext cx="91440" cy="1344889"/>
        </a:xfrm>
        <a:custGeom>
          <a:avLst/>
          <a:gdLst/>
          <a:ahLst/>
          <a:cxnLst/>
          <a:rect l="0" t="0" r="0" b="0"/>
          <a:pathLst>
            <a:path>
              <a:moveTo>
                <a:pt x="105289" y="0"/>
              </a:moveTo>
              <a:lnTo>
                <a:pt x="105289" y="1344889"/>
              </a:lnTo>
              <a:lnTo>
                <a:pt x="45720" y="134488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C8B994C-FFB3-4EA3-9D85-F30443BCB270}">
      <dsp:nvSpPr>
        <dsp:cNvPr id="0" name=""/>
        <dsp:cNvSpPr/>
      </dsp:nvSpPr>
      <dsp:spPr>
        <a:xfrm>
          <a:off x="1331584" y="1825766"/>
          <a:ext cx="157966" cy="53093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530936"/>
              </a:lnTo>
              <a:lnTo>
                <a:pt x="157966" y="53093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4FE7E-1514-4596-B8CE-BCE54D5A582E}">
      <dsp:nvSpPr>
        <dsp:cNvPr id="0" name=""/>
        <dsp:cNvSpPr/>
      </dsp:nvSpPr>
      <dsp:spPr>
        <a:xfrm>
          <a:off x="1236155" y="1825766"/>
          <a:ext cx="91440" cy="527123"/>
        </a:xfrm>
        <a:custGeom>
          <a:avLst/>
          <a:gdLst/>
          <a:ahLst/>
          <a:cxnLst/>
          <a:rect l="0" t="0" r="0" b="0"/>
          <a:pathLst>
            <a:path>
              <a:moveTo>
                <a:pt x="95428" y="0"/>
              </a:moveTo>
              <a:lnTo>
                <a:pt x="95428" y="527123"/>
              </a:lnTo>
              <a:lnTo>
                <a:pt x="45720" y="52712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2C4414-7EF3-4BAE-A19E-E52D628B3FAE}">
      <dsp:nvSpPr>
        <dsp:cNvPr id="0" name=""/>
        <dsp:cNvSpPr/>
      </dsp:nvSpPr>
      <dsp:spPr>
        <a:xfrm>
          <a:off x="1331584" y="944050"/>
          <a:ext cx="4867505" cy="301681"/>
        </a:xfrm>
        <a:custGeom>
          <a:avLst/>
          <a:gdLst/>
          <a:ahLst/>
          <a:cxnLst/>
          <a:rect l="0" t="0" r="0" b="0"/>
          <a:pathLst>
            <a:path>
              <a:moveTo>
                <a:pt x="4867505" y="0"/>
              </a:moveTo>
              <a:lnTo>
                <a:pt x="4867505" y="179874"/>
              </a:lnTo>
              <a:lnTo>
                <a:pt x="0" y="179874"/>
              </a:lnTo>
              <a:lnTo>
                <a:pt x="0" y="30168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CB659-20FB-4FD5-BD59-4EDC1CFD706A}">
      <dsp:nvSpPr>
        <dsp:cNvPr id="0" name=""/>
        <dsp:cNvSpPr/>
      </dsp:nvSpPr>
      <dsp:spPr>
        <a:xfrm>
          <a:off x="5502011" y="248352"/>
          <a:ext cx="1394157" cy="695698"/>
        </a:xfrm>
        <a:prstGeom prst="rect">
          <a:avLst/>
        </a:prstGeom>
        <a:solidFill>
          <a:schemeClr val="accent1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Chief Customer &amp; Marketing Offic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Steve Monteith</a:t>
          </a:r>
        </a:p>
      </dsp:txBody>
      <dsp:txXfrm>
        <a:off x="5502011" y="248352"/>
        <a:ext cx="1394157" cy="695698"/>
      </dsp:txXfrm>
    </dsp:sp>
    <dsp:sp modelId="{AC5FF851-1189-4F95-8351-A97A476B2246}">
      <dsp:nvSpPr>
        <dsp:cNvPr id="0" name=""/>
        <dsp:cNvSpPr/>
      </dsp:nvSpPr>
      <dsp:spPr>
        <a:xfrm>
          <a:off x="751550" y="1245732"/>
          <a:ext cx="1160067" cy="580033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VP Customer Experience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Kelly Sigmon</a:t>
          </a:r>
        </a:p>
      </dsp:txBody>
      <dsp:txXfrm>
        <a:off x="751550" y="1245732"/>
        <a:ext cx="1160067" cy="580033"/>
      </dsp:txXfrm>
    </dsp:sp>
    <dsp:sp modelId="{857E5E5B-C52C-4438-9D5D-D1C33F85DC46}">
      <dsp:nvSpPr>
        <dsp:cNvPr id="0" name=""/>
        <dsp:cNvSpPr/>
      </dsp:nvSpPr>
      <dsp:spPr>
        <a:xfrm>
          <a:off x="121808" y="2062872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ir CCC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Sonja Twombly</a:t>
          </a:r>
        </a:p>
      </dsp:txBody>
      <dsp:txXfrm>
        <a:off x="121808" y="2062872"/>
        <a:ext cx="1160067" cy="580033"/>
      </dsp:txXfrm>
    </dsp:sp>
    <dsp:sp modelId="{36764980-1D1F-4C31-B763-CBCF535AD06A}">
      <dsp:nvSpPr>
        <dsp:cNvPr id="0" name=""/>
        <dsp:cNvSpPr/>
      </dsp:nvSpPr>
      <dsp:spPr>
        <a:xfrm>
          <a:off x="1489551" y="2068667"/>
          <a:ext cx="1160067" cy="576072"/>
        </a:xfrm>
        <a:prstGeom prst="rect">
          <a:avLst/>
        </a:prstGeom>
        <a:solidFill>
          <a:schemeClr val="accent4">
            <a:lumMod val="50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rPr>
            <a:t>Consumer Advocate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kumimoji="0" lang="en-US" sz="9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rPr>
            <a:t>Nathan King</a:t>
          </a:r>
          <a:endParaRPr lang="en-US" sz="900" b="1" kern="1200" dirty="0">
            <a:solidFill>
              <a:schemeClr val="bg1"/>
            </a:solidFill>
            <a:latin typeface="+mn-lt"/>
          </a:endParaRPr>
        </a:p>
      </dsp:txBody>
      <dsp:txXfrm>
        <a:off x="1489551" y="2068667"/>
        <a:ext cx="1160067" cy="576072"/>
      </dsp:txXfrm>
    </dsp:sp>
    <dsp:sp modelId="{F721A2C3-B74E-4B93-9D96-D10D55204BB2}">
      <dsp:nvSpPr>
        <dsp:cNvPr id="0" name=""/>
        <dsp:cNvSpPr/>
      </dsp:nvSpPr>
      <dsp:spPr>
        <a:xfrm>
          <a:off x="111947" y="2880639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Dir Customer Experience &amp; Strategy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Imelda Bruce</a:t>
          </a:r>
        </a:p>
      </dsp:txBody>
      <dsp:txXfrm>
        <a:off x="111947" y="2880639"/>
        <a:ext cx="1160067" cy="580033"/>
      </dsp:txXfrm>
    </dsp:sp>
    <dsp:sp modelId="{43FE5B09-28AC-4B39-BFE9-1C78BB5E9846}">
      <dsp:nvSpPr>
        <dsp:cNvPr id="0" name=""/>
        <dsp:cNvSpPr/>
      </dsp:nvSpPr>
      <dsp:spPr>
        <a:xfrm>
          <a:off x="3558914" y="1245732"/>
          <a:ext cx="1160067" cy="580033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VP Marketi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Sheila Holman</a:t>
          </a:r>
        </a:p>
      </dsp:txBody>
      <dsp:txXfrm>
        <a:off x="3558914" y="1245732"/>
        <a:ext cx="1160067" cy="580033"/>
      </dsp:txXfrm>
    </dsp:sp>
    <dsp:sp modelId="{A8A43A45-90AB-4F0B-9084-0D14C71D65E1}">
      <dsp:nvSpPr>
        <dsp:cNvPr id="0" name=""/>
        <dsp:cNvSpPr/>
      </dsp:nvSpPr>
      <dsp:spPr>
        <a:xfrm>
          <a:off x="2871261" y="2075290"/>
          <a:ext cx="1160067" cy="580033"/>
        </a:xfrm>
        <a:prstGeom prst="rect">
          <a:avLst/>
        </a:prstGeom>
        <a:solidFill>
          <a:schemeClr val="accent2">
            <a:lumMod val="50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Exec Dir Brand Marketing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Christopher Karpenko</a:t>
          </a:r>
        </a:p>
      </dsp:txBody>
      <dsp:txXfrm>
        <a:off x="2871261" y="2075290"/>
        <a:ext cx="1160067" cy="580033"/>
      </dsp:txXfrm>
    </dsp:sp>
    <dsp:sp modelId="{18F5216A-D74D-45D9-8EB3-3C45223454C9}">
      <dsp:nvSpPr>
        <dsp:cNvPr id="0" name=""/>
        <dsp:cNvSpPr/>
      </dsp:nvSpPr>
      <dsp:spPr>
        <a:xfrm>
          <a:off x="4223413" y="2075290"/>
          <a:ext cx="1160067" cy="580033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0" kern="1200" dirty="0">
              <a:solidFill>
                <a:schemeClr val="bg1"/>
              </a:solidFill>
            </a:rPr>
            <a:t>Mgr Industry Engagement &amp; Outreach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Judy de Torok</a:t>
          </a:r>
          <a:endParaRPr lang="en-US" sz="900" b="1" kern="1200" dirty="0">
            <a:solidFill>
              <a:schemeClr val="bg1"/>
            </a:solidFill>
          </a:endParaRPr>
        </a:p>
      </dsp:txBody>
      <dsp:txXfrm>
        <a:off x="4223413" y="2075290"/>
        <a:ext cx="1160067" cy="580033"/>
      </dsp:txXfrm>
    </dsp:sp>
    <dsp:sp modelId="{93931096-6600-46C3-98DA-74AC02AC0B71}">
      <dsp:nvSpPr>
        <dsp:cNvPr id="0" name=""/>
        <dsp:cNvSpPr/>
      </dsp:nvSpPr>
      <dsp:spPr>
        <a:xfrm>
          <a:off x="2819731" y="2828691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0" kern="1200" dirty="0">
              <a:solidFill>
                <a:schemeClr val="bg1"/>
              </a:solidFill>
            </a:rPr>
            <a:t>Dir Stamp Services/A</a:t>
          </a:r>
        </a:p>
        <a:p>
          <a:pPr marL="0" lvl="0" indent="0" algn="ctr" defTabSz="3778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50" b="1" kern="1200" dirty="0">
              <a:solidFill>
                <a:schemeClr val="bg1"/>
              </a:solidFill>
            </a:rPr>
            <a:t>William Gicker Jr</a:t>
          </a:r>
          <a:endParaRPr lang="en-US" sz="900" b="1" kern="1200" dirty="0">
            <a:solidFill>
              <a:schemeClr val="bg1"/>
            </a:solidFill>
          </a:endParaRPr>
        </a:p>
      </dsp:txBody>
      <dsp:txXfrm>
        <a:off x="2819731" y="2828691"/>
        <a:ext cx="1160067" cy="580033"/>
      </dsp:txXfrm>
    </dsp:sp>
    <dsp:sp modelId="{0D06EEA7-4445-454A-8592-5674FAFF84D6}">
      <dsp:nvSpPr>
        <dsp:cNvPr id="0" name=""/>
        <dsp:cNvSpPr/>
      </dsp:nvSpPr>
      <dsp:spPr>
        <a:xfrm>
          <a:off x="4277611" y="2839891"/>
          <a:ext cx="1160067" cy="550243"/>
        </a:xfrm>
        <a:prstGeom prst="rect">
          <a:avLst/>
        </a:prstGeom>
        <a:solidFill>
          <a:schemeClr val="accent2"/>
        </a:solidFill>
        <a:ln w="127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Dir Innovation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Kriti Vichare</a:t>
          </a:r>
        </a:p>
      </dsp:txBody>
      <dsp:txXfrm>
        <a:off x="4277611" y="2839891"/>
        <a:ext cx="1160067" cy="550243"/>
      </dsp:txXfrm>
    </dsp:sp>
    <dsp:sp modelId="{6F5EABE9-ADCF-4968-81B3-04689CB922B9}">
      <dsp:nvSpPr>
        <dsp:cNvPr id="0" name=""/>
        <dsp:cNvSpPr/>
      </dsp:nvSpPr>
      <dsp:spPr>
        <a:xfrm>
          <a:off x="6366278" y="1245732"/>
          <a:ext cx="1160067" cy="580033"/>
        </a:xfrm>
        <a:prstGeom prst="rect">
          <a:avLst/>
        </a:prstGeom>
        <a:solidFill>
          <a:schemeClr val="accent6">
            <a:lumMod val="75000"/>
          </a:schemeClr>
        </a:solidFill>
        <a:ln w="381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VP Sal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Christine Bailey</a:t>
          </a:r>
        </a:p>
      </dsp:txBody>
      <dsp:txXfrm>
        <a:off x="6366278" y="1245732"/>
        <a:ext cx="1160067" cy="580033"/>
      </dsp:txXfrm>
    </dsp:sp>
    <dsp:sp modelId="{77B0771F-7A97-4F55-B5C4-7CE3A24EA5FB}">
      <dsp:nvSpPr>
        <dsp:cNvPr id="0" name=""/>
        <dsp:cNvSpPr/>
      </dsp:nvSpPr>
      <dsp:spPr>
        <a:xfrm>
          <a:off x="5706153" y="2075290"/>
          <a:ext cx="1160067" cy="580033"/>
        </a:xfrm>
        <a:prstGeom prst="rect">
          <a:avLst/>
        </a:prstGeom>
        <a:solidFill>
          <a:schemeClr val="accent2">
            <a:lumMod val="50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Exec Dir Sales (National)/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Anthony Gibson</a:t>
          </a:r>
        </a:p>
      </dsp:txBody>
      <dsp:txXfrm>
        <a:off x="5706153" y="2075290"/>
        <a:ext cx="1160067" cy="580033"/>
      </dsp:txXfrm>
    </dsp:sp>
    <dsp:sp modelId="{7F2C8B3F-CC73-4AF4-B493-142FDFBE4550}">
      <dsp:nvSpPr>
        <dsp:cNvPr id="0" name=""/>
        <dsp:cNvSpPr/>
      </dsp:nvSpPr>
      <dsp:spPr>
        <a:xfrm>
          <a:off x="7038735" y="2075290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ir Small Business Engagemen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Mary Anderson</a:t>
          </a:r>
        </a:p>
      </dsp:txBody>
      <dsp:txXfrm>
        <a:off x="7038735" y="2075290"/>
        <a:ext cx="1160067" cy="580033"/>
      </dsp:txXfrm>
    </dsp:sp>
    <dsp:sp modelId="{BC6D9694-E2FB-466A-9121-F6DA2CA4E423}">
      <dsp:nvSpPr>
        <dsp:cNvPr id="0" name=""/>
        <dsp:cNvSpPr/>
      </dsp:nvSpPr>
      <dsp:spPr>
        <a:xfrm>
          <a:off x="5633243" y="2886520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ir Business Customer Intelligence/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Kelvin Jackson</a:t>
          </a:r>
        </a:p>
      </dsp:txBody>
      <dsp:txXfrm>
        <a:off x="5633243" y="2886520"/>
        <a:ext cx="1160067" cy="580033"/>
      </dsp:txXfrm>
    </dsp:sp>
    <dsp:sp modelId="{34C6C65D-2FB2-4BC6-85E7-4981197D899A}">
      <dsp:nvSpPr>
        <dsp:cNvPr id="0" name=""/>
        <dsp:cNvSpPr/>
      </dsp:nvSpPr>
      <dsp:spPr>
        <a:xfrm>
          <a:off x="7053282" y="2890911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ir Enterprise Account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Jay Smith</a:t>
          </a:r>
        </a:p>
      </dsp:txBody>
      <dsp:txXfrm>
        <a:off x="7053282" y="2890911"/>
        <a:ext cx="1160067" cy="580033"/>
      </dsp:txXfrm>
    </dsp:sp>
    <dsp:sp modelId="{9B3E7BAB-573F-4360-9513-1138FF22520D}">
      <dsp:nvSpPr>
        <dsp:cNvPr id="0" name=""/>
        <dsp:cNvSpPr/>
      </dsp:nvSpPr>
      <dsp:spPr>
        <a:xfrm>
          <a:off x="5611028" y="3771321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ir Strategic Accounts (National)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Coakley Workman</a:t>
          </a:r>
        </a:p>
      </dsp:txBody>
      <dsp:txXfrm>
        <a:off x="5611028" y="3771321"/>
        <a:ext cx="1160067" cy="580033"/>
      </dsp:txXfrm>
    </dsp:sp>
    <dsp:sp modelId="{4736FCD0-8E0A-4FF6-8C5C-59C75434551D}">
      <dsp:nvSpPr>
        <dsp:cNvPr id="0" name=""/>
        <dsp:cNvSpPr/>
      </dsp:nvSpPr>
      <dsp:spPr>
        <a:xfrm>
          <a:off x="7022738" y="3774117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Dir National Business Allianc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James McNally</a:t>
          </a:r>
          <a:endParaRPr lang="en-US" sz="900" kern="1200" dirty="0">
            <a:solidFill>
              <a:schemeClr val="bg1"/>
            </a:solidFill>
          </a:endParaRPr>
        </a:p>
      </dsp:txBody>
      <dsp:txXfrm>
        <a:off x="7022738" y="3774117"/>
        <a:ext cx="1160067" cy="580033"/>
      </dsp:txXfrm>
    </dsp:sp>
    <dsp:sp modelId="{18490A3D-7561-4C91-B5F4-2BA7B9B60576}">
      <dsp:nvSpPr>
        <dsp:cNvPr id="0" name=""/>
        <dsp:cNvSpPr/>
      </dsp:nvSpPr>
      <dsp:spPr>
        <a:xfrm>
          <a:off x="5611028" y="4482257"/>
          <a:ext cx="1160067" cy="580033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Mgr Business Customer Support and Servic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Thomas Hughes</a:t>
          </a:r>
          <a:endParaRPr lang="en-US" sz="900" kern="1200" dirty="0">
            <a:solidFill>
              <a:schemeClr val="bg1"/>
            </a:solidFill>
          </a:endParaRPr>
        </a:p>
      </dsp:txBody>
      <dsp:txXfrm>
        <a:off x="5611028" y="4482257"/>
        <a:ext cx="1160067" cy="580033"/>
      </dsp:txXfrm>
    </dsp:sp>
    <dsp:sp modelId="{93A91F1D-7D22-4985-85A0-25585DC5988D}">
      <dsp:nvSpPr>
        <dsp:cNvPr id="0" name=""/>
        <dsp:cNvSpPr/>
      </dsp:nvSpPr>
      <dsp:spPr>
        <a:xfrm>
          <a:off x="9173643" y="1245732"/>
          <a:ext cx="1160067" cy="580033"/>
        </a:xfrm>
        <a:prstGeom prst="rect">
          <a:avLst/>
        </a:prstGeom>
        <a:solidFill>
          <a:schemeClr val="accent6">
            <a:lumMod val="75000"/>
          </a:schemeClr>
        </a:solidFill>
        <a:ln w="381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VP Product Solution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Thomas Foti</a:t>
          </a:r>
        </a:p>
      </dsp:txBody>
      <dsp:txXfrm>
        <a:off x="9173643" y="1245732"/>
        <a:ext cx="1160067" cy="580033"/>
      </dsp:txXfrm>
    </dsp:sp>
    <dsp:sp modelId="{BD124048-E30E-4AF4-8927-D2BF6DF4E839}">
      <dsp:nvSpPr>
        <dsp:cNvPr id="0" name=""/>
        <dsp:cNvSpPr/>
      </dsp:nvSpPr>
      <dsp:spPr>
        <a:xfrm>
          <a:off x="8440607" y="2075290"/>
          <a:ext cx="1160067" cy="580033"/>
        </a:xfrm>
        <a:prstGeom prst="rect">
          <a:avLst/>
        </a:prstGeom>
        <a:solidFill>
          <a:schemeClr val="accent2">
            <a:lumMod val="50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Exec Dir Product    Management/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Margaret Pepe</a:t>
          </a:r>
        </a:p>
      </dsp:txBody>
      <dsp:txXfrm>
        <a:off x="8440607" y="2075290"/>
        <a:ext cx="1160067" cy="580033"/>
      </dsp:txXfrm>
    </dsp:sp>
    <dsp:sp modelId="{24BC7984-6149-4663-938B-04A9C51DF1FB}">
      <dsp:nvSpPr>
        <dsp:cNvPr id="0" name=""/>
        <dsp:cNvSpPr/>
      </dsp:nvSpPr>
      <dsp:spPr>
        <a:xfrm>
          <a:off x="9830403" y="2074873"/>
          <a:ext cx="1160067" cy="580451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Dir Business Acceptance Solutions/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Randy Workman</a:t>
          </a:r>
        </a:p>
      </dsp:txBody>
      <dsp:txXfrm>
        <a:off x="9830403" y="2074873"/>
        <a:ext cx="1160067" cy="580451"/>
      </dsp:txXfrm>
    </dsp:sp>
    <dsp:sp modelId="{59C16821-136A-42CE-A32E-53F10B407A80}">
      <dsp:nvSpPr>
        <dsp:cNvPr id="0" name=""/>
        <dsp:cNvSpPr/>
      </dsp:nvSpPr>
      <dsp:spPr>
        <a:xfrm>
          <a:off x="8457788" y="3854765"/>
          <a:ext cx="1160067" cy="580033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Mgr Pricing &amp; Classification Service Ct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Charles Tricamo</a:t>
          </a:r>
        </a:p>
      </dsp:txBody>
      <dsp:txXfrm>
        <a:off x="8457788" y="3854765"/>
        <a:ext cx="1160067" cy="580033"/>
      </dsp:txXfrm>
    </dsp:sp>
    <dsp:sp modelId="{29BFB6C1-D823-46CA-84D1-1520903300FC}">
      <dsp:nvSpPr>
        <dsp:cNvPr id="0" name=""/>
        <dsp:cNvSpPr/>
      </dsp:nvSpPr>
      <dsp:spPr>
        <a:xfrm>
          <a:off x="9844289" y="2841260"/>
          <a:ext cx="1160067" cy="580033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Dir Commercial Acceptance/A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Diane Smith</a:t>
          </a:r>
        </a:p>
      </dsp:txBody>
      <dsp:txXfrm>
        <a:off x="9844289" y="2841260"/>
        <a:ext cx="1160067" cy="580033"/>
      </dsp:txXfrm>
    </dsp:sp>
    <dsp:sp modelId="{51F33CE0-C792-43E6-9B95-4AA844009EE5}">
      <dsp:nvSpPr>
        <dsp:cNvPr id="0" name=""/>
        <dsp:cNvSpPr/>
      </dsp:nvSpPr>
      <dsp:spPr>
        <a:xfrm>
          <a:off x="8440607" y="4498046"/>
          <a:ext cx="1160067" cy="580033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Mgr Product  Classification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Dale Kennedy</a:t>
          </a:r>
        </a:p>
      </dsp:txBody>
      <dsp:txXfrm>
        <a:off x="8440607" y="4498046"/>
        <a:ext cx="1160067" cy="580033"/>
      </dsp:txXfrm>
    </dsp:sp>
    <dsp:sp modelId="{9060BF1E-9366-4AEA-8D0E-28DE9A854D56}">
      <dsp:nvSpPr>
        <dsp:cNvPr id="0" name=""/>
        <dsp:cNvSpPr/>
      </dsp:nvSpPr>
      <dsp:spPr>
        <a:xfrm>
          <a:off x="10502686" y="1240674"/>
          <a:ext cx="1160067" cy="580033"/>
        </a:xfrm>
        <a:prstGeom prst="rect">
          <a:avLst/>
        </a:prstGeom>
        <a:solidFill>
          <a:schemeClr val="accent4">
            <a:lumMod val="75000"/>
          </a:schemeClr>
        </a:solidFill>
        <a:ln w="127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/>
            <a:t>Managing Dir Global Business 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/>
            <a:t>Robert Raines Jr</a:t>
          </a:r>
        </a:p>
      </dsp:txBody>
      <dsp:txXfrm>
        <a:off x="10502686" y="1240674"/>
        <a:ext cx="1160067" cy="580033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095356-8FD5-4CF9-AD53-34627F5EA4EE}">
      <dsp:nvSpPr>
        <dsp:cNvPr id="0" name=""/>
        <dsp:cNvSpPr/>
      </dsp:nvSpPr>
      <dsp:spPr>
        <a:xfrm>
          <a:off x="11007887" y="2811293"/>
          <a:ext cx="107078" cy="503337"/>
        </a:xfrm>
        <a:custGeom>
          <a:avLst/>
          <a:gdLst/>
          <a:ahLst/>
          <a:cxnLst/>
          <a:rect l="0" t="0" r="0" b="0"/>
          <a:pathLst>
            <a:path>
              <a:moveTo>
                <a:pt x="107078" y="0"/>
              </a:moveTo>
              <a:lnTo>
                <a:pt x="107078" y="503337"/>
              </a:lnTo>
              <a:lnTo>
                <a:pt x="0" y="503337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2DD938D-BE61-4C37-A14B-5EE1F1104841}">
      <dsp:nvSpPr>
        <dsp:cNvPr id="0" name=""/>
        <dsp:cNvSpPr/>
      </dsp:nvSpPr>
      <dsp:spPr>
        <a:xfrm>
          <a:off x="11114965" y="2811293"/>
          <a:ext cx="153297" cy="11092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9229"/>
              </a:lnTo>
              <a:lnTo>
                <a:pt x="153297" y="110922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102BDE-8111-4E1A-B595-31AA990E77C0}">
      <dsp:nvSpPr>
        <dsp:cNvPr id="0" name=""/>
        <dsp:cNvSpPr/>
      </dsp:nvSpPr>
      <dsp:spPr>
        <a:xfrm>
          <a:off x="5754461" y="1823190"/>
          <a:ext cx="5360504" cy="2271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0983"/>
              </a:lnTo>
              <a:lnTo>
                <a:pt x="5360504" y="150983"/>
              </a:lnTo>
              <a:lnTo>
                <a:pt x="5360504" y="22715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4A4395-F74A-476F-A46C-78057DB34BE5}">
      <dsp:nvSpPr>
        <dsp:cNvPr id="0" name=""/>
        <dsp:cNvSpPr/>
      </dsp:nvSpPr>
      <dsp:spPr>
        <a:xfrm>
          <a:off x="9284705" y="2797015"/>
          <a:ext cx="91440" cy="198144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981446"/>
              </a:lnTo>
              <a:lnTo>
                <a:pt x="126362" y="198144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9F64E9-56D4-48E1-B45D-0767B368A36B}">
      <dsp:nvSpPr>
        <dsp:cNvPr id="0" name=""/>
        <dsp:cNvSpPr/>
      </dsp:nvSpPr>
      <dsp:spPr>
        <a:xfrm>
          <a:off x="9201537" y="2797015"/>
          <a:ext cx="91440" cy="1980212"/>
        </a:xfrm>
        <a:custGeom>
          <a:avLst/>
          <a:gdLst/>
          <a:ahLst/>
          <a:cxnLst/>
          <a:rect l="0" t="0" r="0" b="0"/>
          <a:pathLst>
            <a:path>
              <a:moveTo>
                <a:pt x="128887" y="0"/>
              </a:moveTo>
              <a:lnTo>
                <a:pt x="128887" y="1980212"/>
              </a:lnTo>
              <a:lnTo>
                <a:pt x="45720" y="198021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2E30223-5A85-4CD9-B03E-A6B5D0EFBA44}">
      <dsp:nvSpPr>
        <dsp:cNvPr id="0" name=""/>
        <dsp:cNvSpPr/>
      </dsp:nvSpPr>
      <dsp:spPr>
        <a:xfrm>
          <a:off x="9284705" y="2797015"/>
          <a:ext cx="91440" cy="113400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134009"/>
              </a:lnTo>
              <a:lnTo>
                <a:pt x="126362" y="113400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818E30B-B547-4E0E-BC86-69545FA8ADC9}">
      <dsp:nvSpPr>
        <dsp:cNvPr id="0" name=""/>
        <dsp:cNvSpPr/>
      </dsp:nvSpPr>
      <dsp:spPr>
        <a:xfrm>
          <a:off x="9215532" y="2797015"/>
          <a:ext cx="91440" cy="1130579"/>
        </a:xfrm>
        <a:custGeom>
          <a:avLst/>
          <a:gdLst/>
          <a:ahLst/>
          <a:cxnLst/>
          <a:rect l="0" t="0" r="0" b="0"/>
          <a:pathLst>
            <a:path>
              <a:moveTo>
                <a:pt x="114892" y="0"/>
              </a:moveTo>
              <a:lnTo>
                <a:pt x="114892" y="1130579"/>
              </a:lnTo>
              <a:lnTo>
                <a:pt x="45720" y="113057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328B508-85C9-40F6-9185-8180C7701126}">
      <dsp:nvSpPr>
        <dsp:cNvPr id="0" name=""/>
        <dsp:cNvSpPr/>
      </dsp:nvSpPr>
      <dsp:spPr>
        <a:xfrm>
          <a:off x="5754461" y="1823190"/>
          <a:ext cx="3575963" cy="2128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706"/>
              </a:lnTo>
              <a:lnTo>
                <a:pt x="3575963" y="136706"/>
              </a:lnTo>
              <a:lnTo>
                <a:pt x="3575963" y="21287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07C63BC-444B-43F4-BA09-4D600060F48A}">
      <dsp:nvSpPr>
        <dsp:cNvPr id="0" name=""/>
        <dsp:cNvSpPr/>
      </dsp:nvSpPr>
      <dsp:spPr>
        <a:xfrm>
          <a:off x="7640012" y="2797015"/>
          <a:ext cx="95267" cy="1127440"/>
        </a:xfrm>
        <a:custGeom>
          <a:avLst/>
          <a:gdLst/>
          <a:ahLst/>
          <a:cxnLst/>
          <a:rect l="0" t="0" r="0" b="0"/>
          <a:pathLst>
            <a:path>
              <a:moveTo>
                <a:pt x="95267" y="0"/>
              </a:moveTo>
              <a:lnTo>
                <a:pt x="95267" y="1127440"/>
              </a:lnTo>
              <a:lnTo>
                <a:pt x="0" y="1127440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57E809D-C625-45E2-A4FE-FD099A104FCD}">
      <dsp:nvSpPr>
        <dsp:cNvPr id="0" name=""/>
        <dsp:cNvSpPr/>
      </dsp:nvSpPr>
      <dsp:spPr>
        <a:xfrm>
          <a:off x="7689560" y="2797015"/>
          <a:ext cx="91440" cy="1127353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127353"/>
              </a:lnTo>
              <a:lnTo>
                <a:pt x="128956" y="1127353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29F757-2139-4639-B1D3-CE8ADCE78BBA}">
      <dsp:nvSpPr>
        <dsp:cNvPr id="0" name=""/>
        <dsp:cNvSpPr/>
      </dsp:nvSpPr>
      <dsp:spPr>
        <a:xfrm>
          <a:off x="5754461" y="1823190"/>
          <a:ext cx="1980818" cy="2128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706"/>
              </a:lnTo>
              <a:lnTo>
                <a:pt x="1980818" y="136706"/>
              </a:lnTo>
              <a:lnTo>
                <a:pt x="1980818" y="21287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B24ED9-AEA6-4719-9AAC-19425E50102E}">
      <dsp:nvSpPr>
        <dsp:cNvPr id="0" name=""/>
        <dsp:cNvSpPr/>
      </dsp:nvSpPr>
      <dsp:spPr>
        <a:xfrm>
          <a:off x="6039378" y="2797015"/>
          <a:ext cx="91440" cy="1105012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105012"/>
              </a:lnTo>
              <a:lnTo>
                <a:pt x="127501" y="1105012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24BD74D-0A26-4504-89C2-C0CE0AB010B7}">
      <dsp:nvSpPr>
        <dsp:cNvPr id="0" name=""/>
        <dsp:cNvSpPr/>
      </dsp:nvSpPr>
      <dsp:spPr>
        <a:xfrm>
          <a:off x="5949000" y="2797015"/>
          <a:ext cx="91440" cy="1106151"/>
        </a:xfrm>
        <a:custGeom>
          <a:avLst/>
          <a:gdLst/>
          <a:ahLst/>
          <a:cxnLst/>
          <a:rect l="0" t="0" r="0" b="0"/>
          <a:pathLst>
            <a:path>
              <a:moveTo>
                <a:pt x="136098" y="0"/>
              </a:moveTo>
              <a:lnTo>
                <a:pt x="136098" y="1106151"/>
              </a:lnTo>
              <a:lnTo>
                <a:pt x="45720" y="1106151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52852C6-20B4-46A2-B6DA-5FE9764A5987}">
      <dsp:nvSpPr>
        <dsp:cNvPr id="0" name=""/>
        <dsp:cNvSpPr/>
      </dsp:nvSpPr>
      <dsp:spPr>
        <a:xfrm>
          <a:off x="5754461" y="1823190"/>
          <a:ext cx="330636" cy="21287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36706"/>
              </a:lnTo>
              <a:lnTo>
                <a:pt x="330636" y="136706"/>
              </a:lnTo>
              <a:lnTo>
                <a:pt x="330636" y="21287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00AFB7F-2B1C-4F2F-90FD-534B3C5D185A}">
      <dsp:nvSpPr>
        <dsp:cNvPr id="0" name=""/>
        <dsp:cNvSpPr/>
      </dsp:nvSpPr>
      <dsp:spPr>
        <a:xfrm>
          <a:off x="4309490" y="2797015"/>
          <a:ext cx="91440" cy="1110986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1110986"/>
              </a:lnTo>
              <a:lnTo>
                <a:pt x="132761" y="1110986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7938CB-A733-44C1-A071-6CDE35869C6C}">
      <dsp:nvSpPr>
        <dsp:cNvPr id="0" name=""/>
        <dsp:cNvSpPr/>
      </dsp:nvSpPr>
      <dsp:spPr>
        <a:xfrm>
          <a:off x="4258571" y="2797015"/>
          <a:ext cx="96638" cy="1111135"/>
        </a:xfrm>
        <a:custGeom>
          <a:avLst/>
          <a:gdLst/>
          <a:ahLst/>
          <a:cxnLst/>
          <a:rect l="0" t="0" r="0" b="0"/>
          <a:pathLst>
            <a:path>
              <a:moveTo>
                <a:pt x="96638" y="0"/>
              </a:moveTo>
              <a:lnTo>
                <a:pt x="96638" y="1111135"/>
              </a:lnTo>
              <a:lnTo>
                <a:pt x="0" y="1111135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B36B14-FDED-4614-BB74-97EE5BB8F52D}">
      <dsp:nvSpPr>
        <dsp:cNvPr id="0" name=""/>
        <dsp:cNvSpPr/>
      </dsp:nvSpPr>
      <dsp:spPr>
        <a:xfrm>
          <a:off x="4355210" y="1823190"/>
          <a:ext cx="1399251" cy="210395"/>
        </a:xfrm>
        <a:custGeom>
          <a:avLst/>
          <a:gdLst/>
          <a:ahLst/>
          <a:cxnLst/>
          <a:rect l="0" t="0" r="0" b="0"/>
          <a:pathLst>
            <a:path>
              <a:moveTo>
                <a:pt x="1399251" y="0"/>
              </a:moveTo>
              <a:lnTo>
                <a:pt x="1399251" y="134221"/>
              </a:lnTo>
              <a:lnTo>
                <a:pt x="0" y="134221"/>
              </a:lnTo>
              <a:lnTo>
                <a:pt x="0" y="21039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25EAEC4-21DF-4A89-BE31-5C6BBEF765AB}">
      <dsp:nvSpPr>
        <dsp:cNvPr id="0" name=""/>
        <dsp:cNvSpPr/>
      </dsp:nvSpPr>
      <dsp:spPr>
        <a:xfrm>
          <a:off x="2537641" y="2797015"/>
          <a:ext cx="91440" cy="383418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83418"/>
              </a:lnTo>
              <a:lnTo>
                <a:pt x="130889" y="3834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123271-9238-4D01-BFEA-7C510FB4B13F}">
      <dsp:nvSpPr>
        <dsp:cNvPr id="0" name=""/>
        <dsp:cNvSpPr/>
      </dsp:nvSpPr>
      <dsp:spPr>
        <a:xfrm>
          <a:off x="2483376" y="2797015"/>
          <a:ext cx="91440" cy="383418"/>
        </a:xfrm>
        <a:custGeom>
          <a:avLst/>
          <a:gdLst/>
          <a:ahLst/>
          <a:cxnLst/>
          <a:rect l="0" t="0" r="0" b="0"/>
          <a:pathLst>
            <a:path>
              <a:moveTo>
                <a:pt x="99984" y="0"/>
              </a:moveTo>
              <a:lnTo>
                <a:pt x="99984" y="383418"/>
              </a:lnTo>
              <a:lnTo>
                <a:pt x="45720" y="383418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62CCC2-632D-47CD-A6FB-AF9328D9C4C3}">
      <dsp:nvSpPr>
        <dsp:cNvPr id="0" name=""/>
        <dsp:cNvSpPr/>
      </dsp:nvSpPr>
      <dsp:spPr>
        <a:xfrm>
          <a:off x="2583361" y="1823190"/>
          <a:ext cx="3171100" cy="210395"/>
        </a:xfrm>
        <a:custGeom>
          <a:avLst/>
          <a:gdLst/>
          <a:ahLst/>
          <a:cxnLst/>
          <a:rect l="0" t="0" r="0" b="0"/>
          <a:pathLst>
            <a:path>
              <a:moveTo>
                <a:pt x="3171100" y="0"/>
              </a:moveTo>
              <a:lnTo>
                <a:pt x="3171100" y="134221"/>
              </a:lnTo>
              <a:lnTo>
                <a:pt x="0" y="134221"/>
              </a:lnTo>
              <a:lnTo>
                <a:pt x="0" y="21039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9567DE-0F9A-44AD-9AC7-2008E0BA6F36}">
      <dsp:nvSpPr>
        <dsp:cNvPr id="0" name=""/>
        <dsp:cNvSpPr/>
      </dsp:nvSpPr>
      <dsp:spPr>
        <a:xfrm>
          <a:off x="752799" y="2811293"/>
          <a:ext cx="91440" cy="369139"/>
        </a:xfrm>
        <a:custGeom>
          <a:avLst/>
          <a:gdLst/>
          <a:ahLst/>
          <a:cxnLst/>
          <a:rect l="0" t="0" r="0" b="0"/>
          <a:pathLst>
            <a:path>
              <a:moveTo>
                <a:pt x="76668" y="0"/>
              </a:moveTo>
              <a:lnTo>
                <a:pt x="76668" y="369139"/>
              </a:lnTo>
              <a:lnTo>
                <a:pt x="45720" y="36913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136812-4C19-4C10-89D4-278D140C624B}">
      <dsp:nvSpPr>
        <dsp:cNvPr id="0" name=""/>
        <dsp:cNvSpPr/>
      </dsp:nvSpPr>
      <dsp:spPr>
        <a:xfrm>
          <a:off x="829467" y="2811293"/>
          <a:ext cx="103733" cy="11037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3739"/>
              </a:lnTo>
              <a:lnTo>
                <a:pt x="103733" y="110373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54FE7E-1514-4596-B8CE-BCE54D5A582E}">
      <dsp:nvSpPr>
        <dsp:cNvPr id="0" name=""/>
        <dsp:cNvSpPr/>
      </dsp:nvSpPr>
      <dsp:spPr>
        <a:xfrm>
          <a:off x="829467" y="2811293"/>
          <a:ext cx="97857" cy="36913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369139"/>
              </a:lnTo>
              <a:lnTo>
                <a:pt x="97857" y="369139"/>
              </a:lnTo>
            </a:path>
          </a:pathLst>
        </a:custGeom>
        <a:noFill/>
        <a:ln w="127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2C4414-7EF3-4BAE-A19E-E52D628B3FAE}">
      <dsp:nvSpPr>
        <dsp:cNvPr id="0" name=""/>
        <dsp:cNvSpPr/>
      </dsp:nvSpPr>
      <dsp:spPr>
        <a:xfrm>
          <a:off x="829467" y="1823190"/>
          <a:ext cx="4924994" cy="224672"/>
        </a:xfrm>
        <a:custGeom>
          <a:avLst/>
          <a:gdLst/>
          <a:ahLst/>
          <a:cxnLst/>
          <a:rect l="0" t="0" r="0" b="0"/>
          <a:pathLst>
            <a:path>
              <a:moveTo>
                <a:pt x="4924994" y="0"/>
              </a:moveTo>
              <a:lnTo>
                <a:pt x="4924994" y="148498"/>
              </a:lnTo>
              <a:lnTo>
                <a:pt x="0" y="148498"/>
              </a:lnTo>
              <a:lnTo>
                <a:pt x="0" y="22467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CB659-20FB-4FD5-BD59-4EDC1CFD706A}">
      <dsp:nvSpPr>
        <dsp:cNvPr id="0" name=""/>
        <dsp:cNvSpPr/>
      </dsp:nvSpPr>
      <dsp:spPr>
        <a:xfrm>
          <a:off x="5043588" y="970760"/>
          <a:ext cx="1421747" cy="852429"/>
        </a:xfrm>
        <a:prstGeom prst="rect">
          <a:avLst/>
        </a:prstGeom>
        <a:solidFill>
          <a:schemeClr val="accent1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Chief Retail &amp; Delivery Officer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Kristin Seaver</a:t>
          </a:r>
        </a:p>
      </dsp:txBody>
      <dsp:txXfrm>
        <a:off x="5043588" y="970760"/>
        <a:ext cx="1421747" cy="852429"/>
      </dsp:txXfrm>
    </dsp:sp>
    <dsp:sp modelId="{AC5FF851-1189-4F95-8351-A97A476B2246}">
      <dsp:nvSpPr>
        <dsp:cNvPr id="0" name=""/>
        <dsp:cNvSpPr/>
      </dsp:nvSpPr>
      <dsp:spPr>
        <a:xfrm>
          <a:off x="313957" y="2047862"/>
          <a:ext cx="1031020" cy="763430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VP Delivery Operations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Dr. Josh Colin</a:t>
          </a:r>
          <a:endParaRPr lang="en-US" sz="800" kern="1200" dirty="0">
            <a:solidFill>
              <a:schemeClr val="bg1"/>
            </a:solidFill>
          </a:endParaRPr>
        </a:p>
      </dsp:txBody>
      <dsp:txXfrm>
        <a:off x="313957" y="2047862"/>
        <a:ext cx="1031020" cy="763430"/>
      </dsp:txXfrm>
    </dsp:sp>
    <dsp:sp modelId="{857E5E5B-C52C-4438-9D5D-D1C33F85DC46}">
      <dsp:nvSpPr>
        <dsp:cNvPr id="0" name=""/>
        <dsp:cNvSpPr/>
      </dsp:nvSpPr>
      <dsp:spPr>
        <a:xfrm>
          <a:off x="927325" y="2863606"/>
          <a:ext cx="726384" cy="633652"/>
        </a:xfrm>
        <a:prstGeom prst="rect">
          <a:avLst/>
        </a:prstGeom>
        <a:solidFill>
          <a:schemeClr val="accent2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Dir City Delivery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Jennifer Vo</a:t>
          </a:r>
        </a:p>
      </dsp:txBody>
      <dsp:txXfrm>
        <a:off x="927325" y="2863606"/>
        <a:ext cx="726384" cy="633652"/>
      </dsp:txXfrm>
    </dsp:sp>
    <dsp:sp modelId="{F85C2A93-DDBC-49AC-A446-5B19392565FB}">
      <dsp:nvSpPr>
        <dsp:cNvPr id="0" name=""/>
        <dsp:cNvSpPr/>
      </dsp:nvSpPr>
      <dsp:spPr>
        <a:xfrm>
          <a:off x="933201" y="3598206"/>
          <a:ext cx="726384" cy="633652"/>
        </a:xfrm>
        <a:prstGeom prst="rect">
          <a:avLst/>
        </a:prstGeom>
        <a:solidFill>
          <a:srgbClr val="5B9BD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gr Rural Delivery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Jim Boldt</a:t>
          </a:r>
        </a:p>
      </dsp:txBody>
      <dsp:txXfrm>
        <a:off x="933201" y="3598206"/>
        <a:ext cx="726384" cy="633652"/>
      </dsp:txXfrm>
    </dsp:sp>
    <dsp:sp modelId="{2CC47D3C-9AD8-4160-81D7-015FC3BB09CF}">
      <dsp:nvSpPr>
        <dsp:cNvPr id="0" name=""/>
        <dsp:cNvSpPr/>
      </dsp:nvSpPr>
      <dsp:spPr>
        <a:xfrm>
          <a:off x="72135" y="2863606"/>
          <a:ext cx="726384" cy="633652"/>
        </a:xfrm>
        <a:prstGeom prst="rect">
          <a:avLst/>
        </a:prstGeom>
        <a:solidFill>
          <a:srgbClr val="5B9BD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gr Fleet </a:t>
          </a:r>
          <a:r>
            <a:rPr lang="en-US" sz="800" b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anagement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Kirby Cothren</a:t>
          </a:r>
        </a:p>
      </dsp:txBody>
      <dsp:txXfrm>
        <a:off x="72135" y="2863606"/>
        <a:ext cx="726384" cy="633652"/>
      </dsp:txXfrm>
    </dsp:sp>
    <dsp:sp modelId="{43FE5B09-28AC-4B39-BFE9-1C78BB5E9846}">
      <dsp:nvSpPr>
        <dsp:cNvPr id="0" name=""/>
        <dsp:cNvSpPr/>
      </dsp:nvSpPr>
      <dsp:spPr>
        <a:xfrm>
          <a:off x="2067851" y="2033585"/>
          <a:ext cx="1031020" cy="763430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VP Retail &amp; Post Office Ops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Angela Curtis</a:t>
          </a:r>
        </a:p>
      </dsp:txBody>
      <dsp:txXfrm>
        <a:off x="2067851" y="2033585"/>
        <a:ext cx="1031020" cy="763430"/>
      </dsp:txXfrm>
    </dsp:sp>
    <dsp:sp modelId="{08BECAE6-284F-47AC-9E23-23A5AEFDA4BF}">
      <dsp:nvSpPr>
        <dsp:cNvPr id="0" name=""/>
        <dsp:cNvSpPr/>
      </dsp:nvSpPr>
      <dsp:spPr>
        <a:xfrm>
          <a:off x="1797300" y="2861709"/>
          <a:ext cx="731796" cy="637449"/>
        </a:xfrm>
        <a:prstGeom prst="rect">
          <a:avLst/>
        </a:prstGeom>
        <a:solidFill>
          <a:srgbClr val="ED7D31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Dir Retail Ops/A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Heather Dyer</a:t>
          </a:r>
        </a:p>
      </dsp:txBody>
      <dsp:txXfrm>
        <a:off x="1797300" y="2861709"/>
        <a:ext cx="731796" cy="637449"/>
      </dsp:txXfrm>
    </dsp:sp>
    <dsp:sp modelId="{5A3ED7B4-0FA6-4985-8E94-D5A1D2C89000}">
      <dsp:nvSpPr>
        <dsp:cNvPr id="0" name=""/>
        <dsp:cNvSpPr/>
      </dsp:nvSpPr>
      <dsp:spPr>
        <a:xfrm>
          <a:off x="2668530" y="2861709"/>
          <a:ext cx="731796" cy="637449"/>
        </a:xfrm>
        <a:prstGeom prst="rect">
          <a:avLst/>
        </a:prstGeom>
        <a:solidFill>
          <a:srgbClr val="ED7D31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Dir Post Office Operations/A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Leslie Johnson Frick</a:t>
          </a:r>
        </a:p>
      </dsp:txBody>
      <dsp:txXfrm>
        <a:off x="2668530" y="2861709"/>
        <a:ext cx="731796" cy="637449"/>
      </dsp:txXfrm>
    </dsp:sp>
    <dsp:sp modelId="{6F5EABE9-ADCF-4968-81B3-04689CB922B9}">
      <dsp:nvSpPr>
        <dsp:cNvPr id="0" name=""/>
        <dsp:cNvSpPr/>
      </dsp:nvSpPr>
      <dsp:spPr>
        <a:xfrm>
          <a:off x="3839700" y="2033585"/>
          <a:ext cx="1031020" cy="763430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schemeClr val="bg1"/>
              </a:solidFill>
            </a:rPr>
            <a:t>VP Area Retail &amp; Delivery Operations (Atlantic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Salvatore Vacca</a:t>
          </a:r>
        </a:p>
      </dsp:txBody>
      <dsp:txXfrm>
        <a:off x="3839700" y="2033585"/>
        <a:ext cx="1031020" cy="763430"/>
      </dsp:txXfrm>
    </dsp:sp>
    <dsp:sp modelId="{77B0771F-7A97-4F55-B5C4-7CE3A24EA5FB}">
      <dsp:nvSpPr>
        <dsp:cNvPr id="0" name=""/>
        <dsp:cNvSpPr/>
      </dsp:nvSpPr>
      <dsp:spPr>
        <a:xfrm>
          <a:off x="3533108" y="3591539"/>
          <a:ext cx="725462" cy="633223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schemeClr val="bg1"/>
              </a:solidFill>
            </a:rPr>
            <a:t>Mgr Area Marketing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schemeClr val="bg1"/>
              </a:solidFill>
            </a:rPr>
            <a:t>(Atlantic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Lisa M. Adams</a:t>
          </a:r>
        </a:p>
      </dsp:txBody>
      <dsp:txXfrm>
        <a:off x="3533108" y="3591539"/>
        <a:ext cx="725462" cy="633223"/>
      </dsp:txXfrm>
    </dsp:sp>
    <dsp:sp modelId="{7F2C8B3F-CC73-4AF4-B493-142FDFBE4550}">
      <dsp:nvSpPr>
        <dsp:cNvPr id="0" name=""/>
        <dsp:cNvSpPr/>
      </dsp:nvSpPr>
      <dsp:spPr>
        <a:xfrm>
          <a:off x="4442251" y="3567791"/>
          <a:ext cx="688087" cy="680422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ln>
                <a:noFill/>
              </a:ln>
              <a:solidFill>
                <a:schemeClr val="bg1"/>
              </a:solidFill>
            </a:rPr>
            <a:t>Mgr Delivery/A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ln>
                <a:noFill/>
              </a:ln>
              <a:solidFill>
                <a:schemeClr val="bg1"/>
              </a:solidFill>
            </a:rPr>
            <a:t>Michael P. Shea</a:t>
          </a:r>
        </a:p>
      </dsp:txBody>
      <dsp:txXfrm>
        <a:off x="4442251" y="3567791"/>
        <a:ext cx="688087" cy="680422"/>
      </dsp:txXfrm>
    </dsp:sp>
    <dsp:sp modelId="{93A91F1D-7D22-4985-85A0-25585DC5988D}">
      <dsp:nvSpPr>
        <dsp:cNvPr id="0" name=""/>
        <dsp:cNvSpPr/>
      </dsp:nvSpPr>
      <dsp:spPr>
        <a:xfrm>
          <a:off x="5571264" y="2036070"/>
          <a:ext cx="1027669" cy="760945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schemeClr val="bg1"/>
              </a:solidFill>
            </a:rPr>
            <a:t>VP Area Retail &amp; Delivery Ops (Southern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Timothy Costello</a:t>
          </a:r>
        </a:p>
      </dsp:txBody>
      <dsp:txXfrm>
        <a:off x="5571264" y="2036070"/>
        <a:ext cx="1027669" cy="760945"/>
      </dsp:txXfrm>
    </dsp:sp>
    <dsp:sp modelId="{BD124048-E30E-4AF4-8927-D2BF6DF4E839}">
      <dsp:nvSpPr>
        <dsp:cNvPr id="0" name=""/>
        <dsp:cNvSpPr/>
      </dsp:nvSpPr>
      <dsp:spPr>
        <a:xfrm>
          <a:off x="5306633" y="3562956"/>
          <a:ext cx="688087" cy="680422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schemeClr val="bg1"/>
              </a:solidFill>
            </a:rPr>
            <a:t>Mgr Area Marketing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schemeClr val="bg1"/>
              </a:solidFill>
            </a:rPr>
            <a:t>(Southern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Mike Cook</a:t>
          </a:r>
        </a:p>
      </dsp:txBody>
      <dsp:txXfrm>
        <a:off x="5306633" y="3562956"/>
        <a:ext cx="688087" cy="680422"/>
      </dsp:txXfrm>
    </dsp:sp>
    <dsp:sp modelId="{24BC7984-6149-4663-938B-04A9C51DF1FB}">
      <dsp:nvSpPr>
        <dsp:cNvPr id="0" name=""/>
        <dsp:cNvSpPr/>
      </dsp:nvSpPr>
      <dsp:spPr>
        <a:xfrm>
          <a:off x="6166880" y="3561817"/>
          <a:ext cx="688087" cy="680422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0" kern="1200" dirty="0">
              <a:solidFill>
                <a:schemeClr val="bg1"/>
              </a:solidFill>
            </a:rPr>
            <a:t>Mgr Delivery Programs Support/A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Amanda Morrell</a:t>
          </a:r>
        </a:p>
      </dsp:txBody>
      <dsp:txXfrm>
        <a:off x="6166880" y="3561817"/>
        <a:ext cx="688087" cy="680422"/>
      </dsp:txXfrm>
    </dsp:sp>
    <dsp:sp modelId="{6CAAA1BE-7B87-4DED-9787-733449A80F28}">
      <dsp:nvSpPr>
        <dsp:cNvPr id="0" name=""/>
        <dsp:cNvSpPr/>
      </dsp:nvSpPr>
      <dsp:spPr>
        <a:xfrm>
          <a:off x="7221445" y="2036070"/>
          <a:ext cx="1027669" cy="760945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VP Area Retail &amp; Delivery Operations (Central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Krista Finazzo</a:t>
          </a:r>
        </a:p>
      </dsp:txBody>
      <dsp:txXfrm>
        <a:off x="7221445" y="2036070"/>
        <a:ext cx="1027669" cy="760945"/>
      </dsp:txXfrm>
    </dsp:sp>
    <dsp:sp modelId="{114A1E9B-4244-47DD-A8EB-7C1B5D345B1B}">
      <dsp:nvSpPr>
        <dsp:cNvPr id="0" name=""/>
        <dsp:cNvSpPr/>
      </dsp:nvSpPr>
      <dsp:spPr>
        <a:xfrm>
          <a:off x="7818516" y="3584157"/>
          <a:ext cx="688087" cy="680422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Mgr Delivery Programs Support/A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Derek Strissel</a:t>
          </a:r>
        </a:p>
      </dsp:txBody>
      <dsp:txXfrm>
        <a:off x="7818516" y="3584157"/>
        <a:ext cx="688087" cy="680422"/>
      </dsp:txXfrm>
    </dsp:sp>
    <dsp:sp modelId="{C4D0D079-FAD2-4139-AE0D-74231AED71A6}">
      <dsp:nvSpPr>
        <dsp:cNvPr id="0" name=""/>
        <dsp:cNvSpPr/>
      </dsp:nvSpPr>
      <dsp:spPr>
        <a:xfrm>
          <a:off x="6951925" y="3584244"/>
          <a:ext cx="688087" cy="680422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Mgr Area Marketing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(Central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Michael McInturf</a:t>
          </a:r>
        </a:p>
      </dsp:txBody>
      <dsp:txXfrm>
        <a:off x="6951925" y="3584244"/>
        <a:ext cx="688087" cy="680422"/>
      </dsp:txXfrm>
    </dsp:sp>
    <dsp:sp modelId="{8F7B87B7-5054-4628-BAC8-8537DE0CCE45}">
      <dsp:nvSpPr>
        <dsp:cNvPr id="0" name=""/>
        <dsp:cNvSpPr/>
      </dsp:nvSpPr>
      <dsp:spPr>
        <a:xfrm>
          <a:off x="8816590" y="2036070"/>
          <a:ext cx="1027669" cy="760945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VP Area Retail &amp; Delivery Operations (Pacific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Greg Graves</a:t>
          </a:r>
        </a:p>
      </dsp:txBody>
      <dsp:txXfrm>
        <a:off x="8816590" y="2036070"/>
        <a:ext cx="1027669" cy="760945"/>
      </dsp:txXfrm>
    </dsp:sp>
    <dsp:sp modelId="{08366D94-90F2-4C2C-AE28-E772A8984FA4}">
      <dsp:nvSpPr>
        <dsp:cNvPr id="0" name=""/>
        <dsp:cNvSpPr/>
      </dsp:nvSpPr>
      <dsp:spPr>
        <a:xfrm>
          <a:off x="8589792" y="3604771"/>
          <a:ext cx="671459" cy="645647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Mgr Area  Marketing        (Pacific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Bridgett Carroll</a:t>
          </a:r>
        </a:p>
      </dsp:txBody>
      <dsp:txXfrm>
        <a:off x="8589792" y="3604771"/>
        <a:ext cx="671459" cy="645647"/>
      </dsp:txXfrm>
    </dsp:sp>
    <dsp:sp modelId="{7EF34FFA-702D-4DB0-9B61-4E21BA57A82D}">
      <dsp:nvSpPr>
        <dsp:cNvPr id="0" name=""/>
        <dsp:cNvSpPr/>
      </dsp:nvSpPr>
      <dsp:spPr>
        <a:xfrm>
          <a:off x="9411067" y="3590813"/>
          <a:ext cx="688087" cy="680422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Mgr Area Marketing    (Western)/A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Ross Pfaff</a:t>
          </a:r>
        </a:p>
      </dsp:txBody>
      <dsp:txXfrm>
        <a:off x="9411067" y="3590813"/>
        <a:ext cx="688087" cy="680422"/>
      </dsp:txXfrm>
    </dsp:sp>
    <dsp:sp modelId="{B0B71652-D417-4B39-8926-29C7507EDDDF}">
      <dsp:nvSpPr>
        <dsp:cNvPr id="0" name=""/>
        <dsp:cNvSpPr/>
      </dsp:nvSpPr>
      <dsp:spPr>
        <a:xfrm>
          <a:off x="8558779" y="4436856"/>
          <a:ext cx="688478" cy="680745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Mgr Delivery Programs Support (Pacific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Linda Crawford</a:t>
          </a:r>
        </a:p>
      </dsp:txBody>
      <dsp:txXfrm>
        <a:off x="8558779" y="4436856"/>
        <a:ext cx="688478" cy="680745"/>
      </dsp:txXfrm>
    </dsp:sp>
    <dsp:sp modelId="{0297E07F-E6E4-4FE6-BBA5-DC0CC00808D5}">
      <dsp:nvSpPr>
        <dsp:cNvPr id="0" name=""/>
        <dsp:cNvSpPr/>
      </dsp:nvSpPr>
      <dsp:spPr>
        <a:xfrm>
          <a:off x="9411067" y="4438089"/>
          <a:ext cx="688478" cy="680745"/>
        </a:xfrm>
        <a:prstGeom prst="rect">
          <a:avLst/>
        </a:prstGeom>
        <a:solidFill>
          <a:schemeClr val="accent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Mgr Delivery Programs  Support (Western)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Tyrone Williams </a:t>
          </a:r>
        </a:p>
      </dsp:txBody>
      <dsp:txXfrm>
        <a:off x="9411067" y="4438089"/>
        <a:ext cx="688478" cy="680745"/>
      </dsp:txXfrm>
    </dsp:sp>
    <dsp:sp modelId="{ADCC68CE-4990-407B-B82B-33554245CA83}">
      <dsp:nvSpPr>
        <dsp:cNvPr id="0" name=""/>
        <dsp:cNvSpPr/>
      </dsp:nvSpPr>
      <dsp:spPr>
        <a:xfrm>
          <a:off x="10601131" y="2050347"/>
          <a:ext cx="1027669" cy="760945"/>
        </a:xfrm>
        <a:prstGeom prst="rect">
          <a:avLst/>
        </a:prstGeom>
        <a:solidFill>
          <a:schemeClr val="accent2">
            <a:lumMod val="50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schemeClr val="bg1"/>
              </a:solidFill>
            </a:rPr>
            <a:t>Exec Dir Insights &amp; Ops Excellence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schemeClr val="bg1"/>
              </a:solidFill>
            </a:rPr>
            <a:t>Adyani Torres</a:t>
          </a:r>
        </a:p>
      </dsp:txBody>
      <dsp:txXfrm>
        <a:off x="10601131" y="2050347"/>
        <a:ext cx="1027669" cy="760945"/>
      </dsp:txXfrm>
    </dsp:sp>
    <dsp:sp modelId="{B12D8A1A-16D4-43E3-9B1E-FDB641DABC70}">
      <dsp:nvSpPr>
        <dsp:cNvPr id="0" name=""/>
        <dsp:cNvSpPr/>
      </dsp:nvSpPr>
      <dsp:spPr>
        <a:xfrm>
          <a:off x="11268263" y="3605000"/>
          <a:ext cx="687572" cy="631043"/>
        </a:xfrm>
        <a:prstGeom prst="rect">
          <a:avLst/>
        </a:prstGeom>
        <a:solidFill>
          <a:srgbClr val="5B9BD5"/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Mgr Field Performance/A</a:t>
          </a:r>
          <a:endParaRPr lang="en-US" sz="800" b="0" kern="1200" dirty="0">
            <a:solidFill>
              <a:prstClr val="white"/>
            </a:solidFill>
            <a:latin typeface="Calibri" panose="020F0502020204030204"/>
            <a:ea typeface="+mn-ea"/>
            <a:cs typeface="+mn-cs"/>
          </a:endParaRP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Fharon Hicks</a:t>
          </a:r>
        </a:p>
      </dsp:txBody>
      <dsp:txXfrm>
        <a:off x="11268263" y="3605000"/>
        <a:ext cx="687572" cy="631043"/>
      </dsp:txXfrm>
    </dsp:sp>
    <dsp:sp modelId="{89042E41-6C64-4664-9969-1787091C1D21}">
      <dsp:nvSpPr>
        <dsp:cNvPr id="0" name=""/>
        <dsp:cNvSpPr/>
      </dsp:nvSpPr>
      <dsp:spPr>
        <a:xfrm>
          <a:off x="10276367" y="2995397"/>
          <a:ext cx="731520" cy="638465"/>
        </a:xfrm>
        <a:prstGeom prst="rect">
          <a:avLst/>
        </a:prstGeom>
        <a:solidFill>
          <a:schemeClr val="accent2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Sr Dir Operational Excellence</a:t>
          </a:r>
        </a:p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800" b="1" kern="1200" dirty="0">
              <a:solidFill>
                <a:prstClr val="white"/>
              </a:solidFill>
              <a:latin typeface="Calibri" panose="020F0502020204030204"/>
              <a:ea typeface="+mn-ea"/>
              <a:cs typeface="+mn-cs"/>
            </a:rPr>
            <a:t>Jewelyn Harrington</a:t>
          </a:r>
        </a:p>
      </dsp:txBody>
      <dsp:txXfrm>
        <a:off x="10276367" y="2995397"/>
        <a:ext cx="731520" cy="63846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2852C6-20B4-46A2-B6DA-5FE9764A5987}">
      <dsp:nvSpPr>
        <dsp:cNvPr id="0" name=""/>
        <dsp:cNvSpPr/>
      </dsp:nvSpPr>
      <dsp:spPr>
        <a:xfrm>
          <a:off x="4280452" y="1696280"/>
          <a:ext cx="3352476" cy="3878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3944"/>
              </a:lnTo>
              <a:lnTo>
                <a:pt x="3352476" y="193944"/>
              </a:lnTo>
              <a:lnTo>
                <a:pt x="3352476" y="38788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B36B14-FDED-4614-BB74-97EE5BB8F52D}">
      <dsp:nvSpPr>
        <dsp:cNvPr id="0" name=""/>
        <dsp:cNvSpPr/>
      </dsp:nvSpPr>
      <dsp:spPr>
        <a:xfrm>
          <a:off x="4280452" y="1696280"/>
          <a:ext cx="1117492" cy="3878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93944"/>
              </a:lnTo>
              <a:lnTo>
                <a:pt x="1117492" y="193944"/>
              </a:lnTo>
              <a:lnTo>
                <a:pt x="1117492" y="38788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D62CCC2-632D-47CD-A6FB-AF9328D9C4C3}">
      <dsp:nvSpPr>
        <dsp:cNvPr id="0" name=""/>
        <dsp:cNvSpPr/>
      </dsp:nvSpPr>
      <dsp:spPr>
        <a:xfrm>
          <a:off x="3162960" y="1696280"/>
          <a:ext cx="1117492" cy="387889"/>
        </a:xfrm>
        <a:custGeom>
          <a:avLst/>
          <a:gdLst/>
          <a:ahLst/>
          <a:cxnLst/>
          <a:rect l="0" t="0" r="0" b="0"/>
          <a:pathLst>
            <a:path>
              <a:moveTo>
                <a:pt x="1117492" y="0"/>
              </a:moveTo>
              <a:lnTo>
                <a:pt x="1117492" y="193944"/>
              </a:lnTo>
              <a:lnTo>
                <a:pt x="0" y="193944"/>
              </a:lnTo>
              <a:lnTo>
                <a:pt x="0" y="38788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A2C4414-7EF3-4BAE-A19E-E52D628B3FAE}">
      <dsp:nvSpPr>
        <dsp:cNvPr id="0" name=""/>
        <dsp:cNvSpPr/>
      </dsp:nvSpPr>
      <dsp:spPr>
        <a:xfrm>
          <a:off x="927975" y="1696280"/>
          <a:ext cx="3352476" cy="387889"/>
        </a:xfrm>
        <a:custGeom>
          <a:avLst/>
          <a:gdLst/>
          <a:ahLst/>
          <a:cxnLst/>
          <a:rect l="0" t="0" r="0" b="0"/>
          <a:pathLst>
            <a:path>
              <a:moveTo>
                <a:pt x="3352476" y="0"/>
              </a:moveTo>
              <a:lnTo>
                <a:pt x="3352476" y="193944"/>
              </a:lnTo>
              <a:lnTo>
                <a:pt x="0" y="193944"/>
              </a:lnTo>
              <a:lnTo>
                <a:pt x="0" y="387889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08CB659-20FB-4FD5-BD59-4EDC1CFD706A}">
      <dsp:nvSpPr>
        <dsp:cNvPr id="0" name=""/>
        <dsp:cNvSpPr/>
      </dsp:nvSpPr>
      <dsp:spPr>
        <a:xfrm>
          <a:off x="3104351" y="554434"/>
          <a:ext cx="2352201" cy="1141846"/>
        </a:xfrm>
        <a:prstGeom prst="rect">
          <a:avLst/>
        </a:prstGeom>
        <a:solidFill>
          <a:schemeClr val="accent1">
            <a:lumMod val="75000"/>
          </a:schemeClr>
        </a:solidFill>
        <a:ln w="28575" cap="flat" cmpd="sng" algn="ctr">
          <a:noFill/>
          <a:prstDash val="sysDot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Chief Commerce &amp; Business Solutions Officer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Jakki Krage Strako</a:t>
          </a:r>
        </a:p>
      </dsp:txBody>
      <dsp:txXfrm>
        <a:off x="3104351" y="554434"/>
        <a:ext cx="2352201" cy="1141846"/>
      </dsp:txXfrm>
    </dsp:sp>
    <dsp:sp modelId="{AC5FF851-1189-4F95-8351-A97A476B2246}">
      <dsp:nvSpPr>
        <dsp:cNvPr id="0" name=""/>
        <dsp:cNvSpPr/>
      </dsp:nvSpPr>
      <dsp:spPr>
        <a:xfrm>
          <a:off x="4428" y="2084170"/>
          <a:ext cx="1847094" cy="923547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kern="1200" dirty="0">
              <a:solidFill>
                <a:schemeClr val="bg1"/>
              </a:solidFill>
            </a:rPr>
            <a:t>VP Facilitie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Tom Samra </a:t>
          </a:r>
        </a:p>
      </dsp:txBody>
      <dsp:txXfrm>
        <a:off x="4428" y="2084170"/>
        <a:ext cx="1847094" cy="923547"/>
      </dsp:txXfrm>
    </dsp:sp>
    <dsp:sp modelId="{43FE5B09-28AC-4B39-BFE9-1C78BB5E9846}">
      <dsp:nvSpPr>
        <dsp:cNvPr id="0" name=""/>
        <dsp:cNvSpPr/>
      </dsp:nvSpPr>
      <dsp:spPr>
        <a:xfrm>
          <a:off x="2239412" y="2084170"/>
          <a:ext cx="1847094" cy="923547"/>
        </a:xfrm>
        <a:prstGeom prst="rect">
          <a:avLst/>
        </a:prstGeom>
        <a:solidFill>
          <a:schemeClr val="accent6">
            <a:lumMod val="75000"/>
          </a:schemeClr>
        </a:solidFill>
        <a:ln w="28575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VP Transportation Strategy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Peter Routsolias</a:t>
          </a:r>
        </a:p>
      </dsp:txBody>
      <dsp:txXfrm>
        <a:off x="2239412" y="2084170"/>
        <a:ext cx="1847094" cy="923547"/>
      </dsp:txXfrm>
    </dsp:sp>
    <dsp:sp modelId="{6F5EABE9-ADCF-4968-81B3-04689CB922B9}">
      <dsp:nvSpPr>
        <dsp:cNvPr id="0" name=""/>
        <dsp:cNvSpPr/>
      </dsp:nvSpPr>
      <dsp:spPr>
        <a:xfrm>
          <a:off x="4474397" y="2084170"/>
          <a:ext cx="1847094" cy="923547"/>
        </a:xfrm>
        <a:prstGeom prst="rect">
          <a:avLst/>
        </a:prstGeom>
        <a:solidFill>
          <a:schemeClr val="accent6">
            <a:lumMod val="75000"/>
          </a:schemeClr>
        </a:solidFill>
        <a:ln w="381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VP Business Solutions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VACANT </a:t>
          </a:r>
        </a:p>
      </dsp:txBody>
      <dsp:txXfrm>
        <a:off x="4474397" y="2084170"/>
        <a:ext cx="1847094" cy="923547"/>
      </dsp:txXfrm>
    </dsp:sp>
    <dsp:sp modelId="{93A91F1D-7D22-4985-85A0-25585DC5988D}">
      <dsp:nvSpPr>
        <dsp:cNvPr id="0" name=""/>
        <dsp:cNvSpPr/>
      </dsp:nvSpPr>
      <dsp:spPr>
        <a:xfrm>
          <a:off x="6709381" y="2084170"/>
          <a:ext cx="1847094" cy="923547"/>
        </a:xfrm>
        <a:prstGeom prst="rect">
          <a:avLst/>
        </a:prstGeom>
        <a:solidFill>
          <a:schemeClr val="accent6">
            <a:lumMod val="75000"/>
          </a:schemeClr>
        </a:solidFill>
        <a:ln w="38100" cap="flat" cmpd="sng" algn="ctr">
          <a:noFill/>
          <a:prstDash val="solid"/>
          <a:miter lim="800000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" tIns="5715" rIns="5715" bIns="5715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0" kern="1200" dirty="0">
              <a:solidFill>
                <a:schemeClr val="bg1"/>
              </a:solidFill>
            </a:rPr>
            <a:t>VP Business Development</a:t>
          </a:r>
        </a:p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solidFill>
                <a:schemeClr val="bg1"/>
              </a:solidFill>
            </a:rPr>
            <a:t>VACANT</a:t>
          </a:r>
        </a:p>
      </dsp:txBody>
      <dsp:txXfrm>
        <a:off x="6709381" y="2084170"/>
        <a:ext cx="1847094" cy="92354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F3E44C5-E6CC-4294-8022-732787293E8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F0E4606-5327-40B0-AD1B-B7C400A4899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90EF55C-98CF-430A-BD4C-3061C7A4C3B7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8372619-20FC-482A-BB74-453FCA0AC7A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EE8FF6-8706-43E4-86CC-7FFF558919F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FA6B7C-A69B-42C5-BA70-2B5C185C18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236809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0DEC4F-9115-46E9-99A9-7D53264DF757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83E87F-9FD9-413B-B3EE-1810B14241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6751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83E87F-9FD9-413B-B3EE-1810B14241A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55516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.xml"/><Relationship Id="rId7" Type="http://schemas.openxmlformats.org/officeDocument/2006/relationships/image" Target="../media/image2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9BE56A-18C8-4EC8-AA7D-89D5C710F1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9A6683-1B07-470F-BBD5-3BC2C9EC9F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7F8C2F-15D3-4656-A085-C8A1EF6CBA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BB3A2A-CEB1-4287-AABC-1F5C17457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3228EB6-1429-4D7A-AC73-792FCC478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5340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709C4D-A2D7-45F0-B08F-FF1BD93DC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45A74E5-E67C-46F4-AEF9-0BF9D41062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F557BD-EF4B-4859-B499-95B40F638B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CDF318-36C2-4C00-A9DC-25122A9604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sz="1100" dirty="0"/>
              <a:t>Version 4 (2/2/2021)</a:t>
            </a: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C7DE93-ED41-4495-8D4C-701E4F3DD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004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949A64B6-675D-4E04-BB1A-0EB3E082340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C56B2DF-4C4E-4D27-94A6-C063081AF54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2C09DA-23B3-4EAF-8B71-18045175E0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FDA0DEC-2C92-46CB-832A-2C90FF67B6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sz="1100" dirty="0"/>
              <a:t>Version 4 (2/2/2021)</a:t>
            </a:r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D91324-CC10-4BFE-9579-804D564C69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2160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>
          <a:xfrm>
            <a:off x="2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198" b="1" dirty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-708" y="6083874"/>
            <a:ext cx="12192000" cy="45719"/>
          </a:xfrm>
          <a:prstGeom prst="rect">
            <a:avLst/>
          </a:prstGeom>
          <a:solidFill>
            <a:srgbClr val="E71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350" dirty="0">
              <a:solidFill>
                <a:srgbClr val="FFFFFF"/>
              </a:solidFill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-708" y="6129162"/>
            <a:ext cx="12192000" cy="728838"/>
          </a:xfrm>
          <a:prstGeom prst="rect">
            <a:avLst/>
          </a:prstGeom>
          <a:solidFill>
            <a:srgbClr val="005A92"/>
          </a:soli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350" dirty="0">
              <a:solidFill>
                <a:srgbClr val="5594C6"/>
              </a:solidFill>
              <a:ea typeface="ＭＳ Ｐゴシック" pitchFamily="34" charset="-128"/>
              <a:cs typeface="Arial" charset="0"/>
            </a:endParaRPr>
          </a:p>
        </p:txBody>
      </p:sp>
      <p:pic>
        <p:nvPicPr>
          <p:cNvPr id="17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7044" y="6272640"/>
            <a:ext cx="1870978" cy="315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7377" y="6409169"/>
            <a:ext cx="2743915" cy="365125"/>
          </a:xfrm>
          <a:prstGeom prst="rect">
            <a:avLst/>
          </a:prstGeom>
        </p:spPr>
        <p:txBody>
          <a:bodyPr/>
          <a:lstStyle>
            <a:lvl1pPr algn="r">
              <a:defRPr sz="11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8C9B3EB8-8362-49AB-9755-4BCF42BAF22E}" type="slidenum">
              <a:rPr lang="en-US" smtClean="0">
                <a:solidFill>
                  <a:prstClr val="white">
                    <a:lumMod val="8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white">
                  <a:lumMod val="85000"/>
                </a:prstClr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2D31A22-95C9-7C4B-9F75-9470262D336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9046" y="6296477"/>
            <a:ext cx="2238187" cy="4064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95EAC30-ACD2-44D3-9385-0F6C35B7F0BE}"/>
              </a:ext>
            </a:extLst>
          </p:cNvPr>
          <p:cNvSpPr txBox="1"/>
          <p:nvPr userDrawn="1"/>
        </p:nvSpPr>
        <p:spPr>
          <a:xfrm>
            <a:off x="4980574" y="6409169"/>
            <a:ext cx="262312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dirty="0">
                <a:solidFill>
                  <a:schemeClr val="bg1"/>
                </a:solidFill>
              </a:rPr>
              <a:t> February 5 2021 - Page </a:t>
            </a:r>
            <a:fld id="{9D0AC0E0-1EE5-4F3D-87F2-09D1A49D273D}" type="slidenum">
              <a:rPr lang="en-US" sz="1100" smtClean="0">
                <a:solidFill>
                  <a:schemeClr val="bg1"/>
                </a:solidFill>
              </a:rPr>
              <a:t>‹#›</a:t>
            </a:fld>
            <a:r>
              <a:rPr lang="en-US" sz="1100" dirty="0">
                <a:solidFill>
                  <a:schemeClr val="bg1"/>
                </a:solidFill>
              </a:rPr>
              <a:t> 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36B48EF-ADAF-4A86-A713-D9D2850791C8}"/>
              </a:ext>
            </a:extLst>
          </p:cNvPr>
          <p:cNvCxnSpPr>
            <a:cxnSpLocks/>
            <a:endCxn id="17" idx="3"/>
          </p:cNvCxnSpPr>
          <p:nvPr userDrawn="1"/>
        </p:nvCxnSpPr>
        <p:spPr>
          <a:xfrm>
            <a:off x="10596563" y="6430295"/>
            <a:ext cx="1331459" cy="0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03424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bg>
      <p:bgPr>
        <a:solidFill>
          <a:srgbClr val="005A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8" name="think-cell Slide" r:id="rId5" imgW="624" imgH="623" progId="TCLayout.ActiveDocument.1">
                  <p:embed/>
                </p:oleObj>
              </mc:Choice>
              <mc:Fallback>
                <p:oleObj name="think-cell Slide" r:id="rId5" imgW="624" imgH="623" progId="TCLayout.ActiveDocument.1">
                  <p:embed/>
                  <p:pic>
                    <p:nvPicPr>
                      <p:cNvPr id="16" name="Object 1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/>
          <p:cNvSpPr/>
          <p:nvPr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599" b="1" dirty="0">
              <a:solidFill>
                <a:prstClr val="white"/>
              </a:solidFill>
              <a:sym typeface="Rockwell" panose="02060603020205020403" pitchFamily="18" charset="0"/>
            </a:endParaRPr>
          </a:p>
        </p:txBody>
      </p:sp>
      <p:sp>
        <p:nvSpPr>
          <p:cNvPr id="28" name="Focus Frame 2"/>
          <p:cNvSpPr>
            <a:spLocks noChangeAspect="1"/>
          </p:cNvSpPr>
          <p:nvPr/>
        </p:nvSpPr>
        <p:spPr bwMode="gray">
          <a:xfrm>
            <a:off x="7998862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Focus Frame 2"/>
          <p:cNvSpPr>
            <a:spLocks noChangeAspect="1"/>
          </p:cNvSpPr>
          <p:nvPr/>
        </p:nvSpPr>
        <p:spPr bwMode="gray">
          <a:xfrm>
            <a:off x="1588460" y="1025525"/>
            <a:ext cx="222820" cy="4572000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en-US" sz="1799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53580" y="6074262"/>
            <a:ext cx="2189402" cy="368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171BBC6-F01D-4E80-BB8C-A1C2D80DA64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99106" y="1025526"/>
            <a:ext cx="5989649" cy="2085975"/>
          </a:xfr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80D5B61-7C1E-4833-A5D3-9E0F0B1259E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99144" y="3263900"/>
            <a:ext cx="5989610" cy="1244600"/>
          </a:xfrm>
        </p:spPr>
        <p:txBody>
          <a:bodyPr/>
          <a:lstStyle>
            <a:lvl1pPr marL="0" indent="0">
              <a:buNone/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presenter(s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1D849FB-5DAC-4706-A0EF-3A2AB9B81B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899105" y="4657727"/>
            <a:ext cx="5989610" cy="939799"/>
          </a:xfr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09902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3CA052-93C3-45BF-B63C-731A08591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1A9570-6E4F-4240-8CD7-FEEEF2B1F6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B2B94A-5A77-4F81-9444-7234E9545D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4F3DB4-E818-4FE5-8490-B0FE35902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509DCEA-BCB3-45ED-92EC-7A0DA2F9B7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76271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3B7612-417E-462E-BD32-1C96AD786B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30A86D9-4E8C-46E1-864D-E08C8EBED1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B1945A-ABFF-4AED-BB26-7246E67170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94AF5AA-840B-429C-81C7-CF02B9D79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B2A7C9-DB9A-4E49-8A1F-B36158436D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9821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573182-93E0-4662-85BE-661D5D6C81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17DF480-0EAE-4E15-8FBF-D3BBA487DBE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17C626-2FFB-4B26-A987-941D69AF19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2F78CF2-9D43-41C4-ADDD-91F8F84A23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D6CD32D-1CA7-49C3-8A47-2E43B5B2AA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AE3D93-42BC-41D7-82E4-939092E7E4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259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5A4A70-4513-4FCB-822D-8670E1A14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3112F3-6200-44B3-B9D5-FE6B7E4133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C7F547-937F-44BB-8FD5-C335D83380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B1E218-BD06-432B-BB9B-74AEC44CA2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9539285-721C-4298-96EA-BF4FE862950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A7DF8EE-0917-4ACF-AF90-291ADA461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A8E097-D14D-49EB-82E2-264A54840B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0DC9203-7782-441C-A15A-952C76B7F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135407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D89918-5E4D-4B58-A317-F74AA04CA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441BB9B-8863-47B0-83F0-B58557F687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A5D55E-9FAF-47D6-8C3A-C8FA3EFC41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0E2DB9-1DB5-4CA2-825E-A1A31640FF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0238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4B5C3C0-2087-495D-B0E3-FBAD7C63A6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8F5133-D113-435E-8D3A-67964470D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DBEF40C-6A66-4D6E-8A85-3A3541B668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3689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D462F4-9989-4638-917C-D88903766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DF08071-05B4-439A-AD28-74C06225086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CAD960A-705B-4AAA-A4EA-5C637B96F5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97FC8E-B2C4-43ED-A274-BC25C0D9F7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/>
            </a:lvl1pPr>
          </a:lstStyle>
          <a:p>
            <a:r>
              <a:rPr lang="en-US" dirty="0"/>
              <a:t>Version 4 (2/2/2021)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68D1E7-FD61-4B09-A0D4-79AA42C7E0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  <a:p>
            <a:r>
              <a:rPr lang="en-US" sz="1100" dirty="0"/>
              <a:t>Version 4 (2/2/2021)</a:t>
            </a:r>
          </a:p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3F37E9-F112-4E29-BF3E-1B9C705265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3077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046E51-56AE-43D2-A638-B2089AFF0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FC9D8A8-912B-4691-A147-22F2F7FEDE3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EE271A-6BD9-4050-8DBC-CF15673373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0684A43-6230-4EE2-955F-69813A644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EFF732E-8E85-49C6-83B7-5E703D3A86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EE8CA5-53DA-410D-B39B-E2B61759DE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11990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F195625-3A3B-47AF-9A7E-3022B341A9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2DC604-BFEA-413C-8E00-943D8A8F66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86B3B6B-8429-491A-8FF3-70C5DC7CD5A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58901C-B2D6-4208-A9DE-A0ADE1FFFDB6}" type="datetimeFigureOut">
              <a:rPr lang="en-US" smtClean="0"/>
              <a:t>2/5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D819AE-8E77-42B1-900B-917AE9AA73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658849-0EE1-4C34-8E68-B7BFE780E4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BB15F2-C29C-4CCA-869D-F648F17F00F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305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mailto:sharon.m.young1@usps.gov" TargetMode="External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49E4B63-25C7-4D01-B91D-F29D6208E5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00200" y="1966560"/>
            <a:ext cx="5988089" cy="723376"/>
          </a:xfrm>
        </p:spPr>
        <p:txBody>
          <a:bodyPr/>
          <a:lstStyle/>
          <a:p>
            <a:r>
              <a:rPr lang="en-US" dirty="0"/>
              <a:t>USPS Organiz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3EB65D-454A-4FEA-BB0B-9A0421E374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00199" y="2689936"/>
            <a:ext cx="5988050" cy="1244600"/>
          </a:xfrm>
        </p:spPr>
        <p:txBody>
          <a:bodyPr/>
          <a:lstStyle/>
          <a:p>
            <a:r>
              <a:rPr lang="en-US" dirty="0"/>
              <a:t>February 4, 202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116F143-E93C-4C64-A0B0-ACC89E4E4A0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900199" y="3934537"/>
            <a:ext cx="5988050" cy="939799"/>
          </a:xfrm>
        </p:spPr>
        <p:txBody>
          <a:bodyPr/>
          <a:lstStyle/>
          <a:p>
            <a:r>
              <a:rPr lang="en-US" dirty="0"/>
              <a:t>(Contact info from VP level down)</a:t>
            </a:r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6FC50242-1D92-4DE3-9858-38DFD552C62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77" y="6122974"/>
            <a:ext cx="2595906" cy="471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3010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BC8A0AC-8658-494D-8B0D-5C4406531DEB}"/>
              </a:ext>
            </a:extLst>
          </p:cNvPr>
          <p:cNvSpPr/>
          <p:nvPr/>
        </p:nvSpPr>
        <p:spPr>
          <a:xfrm>
            <a:off x="683844" y="221944"/>
            <a:ext cx="58306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Steve Monteith, Chief Customer &amp; Marketing Officer &amp; EVP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50BC3EA7-E2C8-4D96-BFB0-9ED427EC75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3869368"/>
              </p:ext>
            </p:extLst>
          </p:nvPr>
        </p:nvGraphicFramePr>
        <p:xfrm>
          <a:off x="934939" y="741479"/>
          <a:ext cx="5937444" cy="5315400"/>
        </p:xfrm>
        <a:graphic>
          <a:graphicData uri="http://schemas.openxmlformats.org/drawingml/2006/table">
            <a:tbl>
              <a:tblPr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246706">
                  <a:extLst>
                    <a:ext uri="{9D8B030D-6E8A-4147-A177-3AD203B41FA5}">
                      <a16:colId xmlns:a16="http://schemas.microsoft.com/office/drawing/2014/main" val="3258264146"/>
                    </a:ext>
                  </a:extLst>
                </a:gridCol>
                <a:gridCol w="1340211">
                  <a:extLst>
                    <a:ext uri="{9D8B030D-6E8A-4147-A177-3AD203B41FA5}">
                      <a16:colId xmlns:a16="http://schemas.microsoft.com/office/drawing/2014/main" val="547566464"/>
                    </a:ext>
                  </a:extLst>
                </a:gridCol>
                <a:gridCol w="3350527">
                  <a:extLst>
                    <a:ext uri="{9D8B030D-6E8A-4147-A177-3AD203B41FA5}">
                      <a16:colId xmlns:a16="http://schemas.microsoft.com/office/drawing/2014/main" val="2411591116"/>
                    </a:ext>
                  </a:extLst>
                </a:gridCol>
              </a:tblGrid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Last Name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First Name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1714194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Anderso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Mar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mary.p.anderson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4720302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Baile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Christine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christine.bailey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9269006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de Torok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Jud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judy.a.detorok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87622433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Bruce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Imelda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imelda.o.bruce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6853648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Foti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Thomas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thomas.j.foti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0819207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Gibso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Anthon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Anthony.J.Gibson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13785159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Gicker Jr.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illiam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illiam.j.gicker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1556703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Holma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Sheila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Sheila.B.Holman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29541820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Hughes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Thomas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thomas.j.hughes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83895095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ckso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elvi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elvin.d.jackson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6974600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Karpenko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Chris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christopher.j.karpenko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4999567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Kenned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Dale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dale.e.kennedy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6144264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806000"/>
                          </a:solidFill>
                          <a:effectLst/>
                          <a:latin typeface="Calibri" panose="020F0502020204030204" pitchFamily="34" charset="0"/>
                        </a:rPr>
                        <a:t>King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806000"/>
                          </a:solidFill>
                          <a:effectLst/>
                          <a:latin typeface="Calibri" panose="020F0502020204030204" pitchFamily="34" charset="0"/>
                        </a:rPr>
                        <a:t>Natha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806000"/>
                          </a:solidFill>
                          <a:effectLst/>
                          <a:latin typeface="Calibri" panose="020F0502020204030204" pitchFamily="34" charset="0"/>
                        </a:rPr>
                        <a:t>Michael.N.King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47289113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cNall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mes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mes.f.mcnally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1015064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Pepe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Margaret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margaret.m.pepe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86494979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BF8F00"/>
                          </a:solidFill>
                          <a:effectLst/>
                          <a:latin typeface="Calibri" panose="020F0502020204030204" pitchFamily="34" charset="0"/>
                        </a:rPr>
                        <a:t>Raines Jr.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BF8F00"/>
                          </a:solidFill>
                          <a:effectLst/>
                          <a:latin typeface="Calibri" panose="020F0502020204030204" pitchFamily="34" charset="0"/>
                        </a:rPr>
                        <a:t>Robert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BF8F00"/>
                          </a:solidFill>
                          <a:effectLst/>
                          <a:latin typeface="Calibri" panose="020F0502020204030204" pitchFamily="34" charset="0"/>
                        </a:rPr>
                        <a:t>robert.h.rainesjr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63511731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Sigmo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Kell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kelly.m.sigmon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47627193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mith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Ja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Jay.L.Smith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5403395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mith 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Diane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diane.smith1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9967707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Tricamo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Charles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charles.tricamo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39384955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Twombl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onja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sonja.l.twombly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73682586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Vichare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Kriti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Kriti.B.Vichare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5908383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Workma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Coakle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coakley.workman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87207870"/>
                  </a:ext>
                </a:extLst>
              </a:tr>
              <a:tr h="21261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Workman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Randy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randy.l.workman@usps.gov</a:t>
                      </a:r>
                    </a:p>
                  </a:txBody>
                  <a:tcPr marL="5328" marR="5328" marT="532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5083645"/>
                  </a:ext>
                </a:extLst>
              </a:tr>
            </a:tbl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F69E9334-CB7D-45D1-8D20-8D17ED87ADA4}"/>
              </a:ext>
            </a:extLst>
          </p:cNvPr>
          <p:cNvGrpSpPr/>
          <p:nvPr/>
        </p:nvGrpSpPr>
        <p:grpSpPr>
          <a:xfrm>
            <a:off x="9346189" y="325929"/>
            <a:ext cx="2386149" cy="1384995"/>
            <a:chOff x="9346189" y="325929"/>
            <a:chExt cx="2386149" cy="138499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007799E-A858-4092-ABB2-88589DCD25DC}"/>
                </a:ext>
              </a:extLst>
            </p:cNvPr>
            <p:cNvSpPr txBox="1"/>
            <p:nvPr/>
          </p:nvSpPr>
          <p:spPr>
            <a:xfrm>
              <a:off x="9346189" y="325929"/>
              <a:ext cx="2386149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Legend:</a:t>
              </a:r>
            </a:p>
            <a:p>
              <a:r>
                <a:rPr lang="en-US" sz="1200" dirty="0"/>
                <a:t>Chief Officer &amp; EVP:</a:t>
              </a:r>
            </a:p>
            <a:p>
              <a:r>
                <a:rPr lang="en-US" sz="1200" dirty="0"/>
                <a:t>Vice President:</a:t>
              </a:r>
            </a:p>
            <a:p>
              <a:r>
                <a:rPr lang="en-US" sz="1200" dirty="0"/>
                <a:t>Managing Director:</a:t>
              </a:r>
            </a:p>
            <a:p>
              <a:r>
                <a:rPr lang="en-US" sz="1200" dirty="0"/>
                <a:t>Executive Dir:</a:t>
              </a:r>
            </a:p>
            <a:p>
              <a:r>
                <a:rPr lang="en-US" sz="1200" dirty="0"/>
                <a:t>Director:</a:t>
              </a:r>
            </a:p>
            <a:p>
              <a:r>
                <a:rPr lang="en-US" sz="1200" dirty="0"/>
                <a:t>Manager:</a:t>
              </a:r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2ABAFC27-BA9A-448B-99F3-D21427C33758}"/>
                </a:ext>
              </a:extLst>
            </p:cNvPr>
            <p:cNvSpPr/>
            <p:nvPr/>
          </p:nvSpPr>
          <p:spPr>
            <a:xfrm>
              <a:off x="10927937" y="598339"/>
              <a:ext cx="329124" cy="8523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B35F9236-AD8C-43AD-9201-9182332526F7}"/>
                </a:ext>
              </a:extLst>
            </p:cNvPr>
            <p:cNvSpPr/>
            <p:nvPr/>
          </p:nvSpPr>
          <p:spPr>
            <a:xfrm>
              <a:off x="10927937" y="788413"/>
              <a:ext cx="329124" cy="8522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34400A4-3D9E-4040-8A84-CDF51CC104D2}"/>
                </a:ext>
              </a:extLst>
            </p:cNvPr>
            <p:cNvSpPr/>
            <p:nvPr/>
          </p:nvSpPr>
          <p:spPr>
            <a:xfrm>
              <a:off x="10927937" y="1345961"/>
              <a:ext cx="329124" cy="852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4B2A70F-37E6-46E9-BCE1-14FAA651547D}"/>
                </a:ext>
              </a:extLst>
            </p:cNvPr>
            <p:cNvSpPr/>
            <p:nvPr/>
          </p:nvSpPr>
          <p:spPr>
            <a:xfrm>
              <a:off x="10927937" y="975813"/>
              <a:ext cx="329124" cy="85229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23A1D1F-BD1E-45E4-88E8-E57A33D55FF1}"/>
                </a:ext>
              </a:extLst>
            </p:cNvPr>
            <p:cNvSpPr/>
            <p:nvPr/>
          </p:nvSpPr>
          <p:spPr>
            <a:xfrm>
              <a:off x="10927937" y="1550246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AD9A37AE-D7D1-4E99-A7EA-DA626207B344}"/>
                </a:ext>
              </a:extLst>
            </p:cNvPr>
            <p:cNvSpPr/>
            <p:nvPr/>
          </p:nvSpPr>
          <p:spPr>
            <a:xfrm>
              <a:off x="10927937" y="1154426"/>
              <a:ext cx="329124" cy="85229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513406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C353D-1166-4DC3-9B3C-2387A47FCA4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-61913"/>
            <a:ext cx="5554663" cy="763588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Chief Retail &amp; Delivery Officer Organiz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9D3F07-39BE-41B5-BB00-6AB0CA628939}"/>
              </a:ext>
            </a:extLst>
          </p:cNvPr>
          <p:cNvSpPr/>
          <p:nvPr/>
        </p:nvSpPr>
        <p:spPr>
          <a:xfrm>
            <a:off x="5974878" y="3244430"/>
            <a:ext cx="242248" cy="3691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9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 </a:t>
            </a:r>
            <a:endParaRPr kumimoji="0" lang="en-US" sz="17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ckwell"/>
              <a:ea typeface="+mn-ea"/>
              <a:cs typeface="+mn-cs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46BD3D7-FCB7-4107-A5C3-01C63215E2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79485735"/>
              </p:ext>
            </p:extLst>
          </p:nvPr>
        </p:nvGraphicFramePr>
        <p:xfrm>
          <a:off x="85388" y="433137"/>
          <a:ext cx="12021224" cy="562258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346172C1-6B03-4C84-A5E6-086465C8017D}"/>
              </a:ext>
            </a:extLst>
          </p:cNvPr>
          <p:cNvGrpSpPr/>
          <p:nvPr/>
        </p:nvGrpSpPr>
        <p:grpSpPr>
          <a:xfrm>
            <a:off x="9518467" y="312295"/>
            <a:ext cx="2386149" cy="1384995"/>
            <a:chOff x="9518467" y="312295"/>
            <a:chExt cx="2386149" cy="1384995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4EE072D7-F3C3-4759-BC0B-A125C7ED0FB2}"/>
                </a:ext>
              </a:extLst>
            </p:cNvPr>
            <p:cNvGrpSpPr/>
            <p:nvPr/>
          </p:nvGrpSpPr>
          <p:grpSpPr>
            <a:xfrm>
              <a:off x="9518467" y="312295"/>
              <a:ext cx="2386149" cy="1384995"/>
              <a:chOff x="9518467" y="312295"/>
              <a:chExt cx="2386149" cy="1384995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AA0DD2C-5DBB-4987-857E-5D5CE52C720D}"/>
                  </a:ext>
                </a:extLst>
              </p:cNvPr>
              <p:cNvSpPr txBox="1"/>
              <p:nvPr/>
            </p:nvSpPr>
            <p:spPr>
              <a:xfrm>
                <a:off x="9518467" y="312295"/>
                <a:ext cx="2386149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egend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hief Officer &amp; EVP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Vice President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xecutive Dir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enior Dir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irector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nager:</a:t>
                </a: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34A0F125-E5F8-4E37-83F2-620987A76FBA}"/>
                  </a:ext>
                </a:extLst>
              </p:cNvPr>
              <p:cNvSpPr/>
              <p:nvPr/>
            </p:nvSpPr>
            <p:spPr>
              <a:xfrm>
                <a:off x="10927937" y="598339"/>
                <a:ext cx="329124" cy="8523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FFA6671-1CD8-4A49-B868-95C9206B5927}"/>
                  </a:ext>
                </a:extLst>
              </p:cNvPr>
              <p:cNvSpPr/>
              <p:nvPr/>
            </p:nvSpPr>
            <p:spPr>
              <a:xfrm>
                <a:off x="10927937" y="788413"/>
                <a:ext cx="329124" cy="8522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FE15749-8BC0-4440-834D-12A63115B46C}"/>
                  </a:ext>
                </a:extLst>
              </p:cNvPr>
              <p:cNvSpPr/>
              <p:nvPr/>
            </p:nvSpPr>
            <p:spPr>
              <a:xfrm>
                <a:off x="10927937" y="1324945"/>
                <a:ext cx="329124" cy="8522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7B9908E5-9D07-4335-BA51-F55706BD5E35}"/>
                  </a:ext>
                </a:extLst>
              </p:cNvPr>
              <p:cNvSpPr/>
              <p:nvPr/>
            </p:nvSpPr>
            <p:spPr>
              <a:xfrm>
                <a:off x="10927937" y="975813"/>
                <a:ext cx="329124" cy="85229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F7CD8A45-8550-4B1B-A907-1D0543BF74F2}"/>
                </a:ext>
              </a:extLst>
            </p:cNvPr>
            <p:cNvSpPr/>
            <p:nvPr/>
          </p:nvSpPr>
          <p:spPr>
            <a:xfrm>
              <a:off x="10927937" y="1513209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45CF284C-E675-409C-B4BE-8A0A78BB0047}"/>
              </a:ext>
            </a:extLst>
          </p:cNvPr>
          <p:cNvSpPr/>
          <p:nvPr/>
        </p:nvSpPr>
        <p:spPr>
          <a:xfrm>
            <a:off x="10927937" y="1137545"/>
            <a:ext cx="329124" cy="8522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02335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98A0EB6-ADDA-470F-87AA-6CAFE2D57E94}"/>
              </a:ext>
            </a:extLst>
          </p:cNvPr>
          <p:cNvSpPr/>
          <p:nvPr/>
        </p:nvSpPr>
        <p:spPr>
          <a:xfrm>
            <a:off x="534465" y="136714"/>
            <a:ext cx="5121275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Kristin Seaver, Chief Retail &amp; Delivery Officer &amp; EVP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B92395E-57C4-4BDF-AD08-4F8F5C352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213156"/>
              </p:ext>
            </p:extLst>
          </p:nvPr>
        </p:nvGraphicFramePr>
        <p:xfrm>
          <a:off x="558247" y="562520"/>
          <a:ext cx="6356041" cy="5444393"/>
        </p:xfrm>
        <a:graphic>
          <a:graphicData uri="http://schemas.openxmlformats.org/drawingml/2006/table">
            <a:tbl>
              <a:tblPr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334602">
                  <a:extLst>
                    <a:ext uri="{9D8B030D-6E8A-4147-A177-3AD203B41FA5}">
                      <a16:colId xmlns:a16="http://schemas.microsoft.com/office/drawing/2014/main" val="728472138"/>
                    </a:ext>
                  </a:extLst>
                </a:gridCol>
                <a:gridCol w="1434697">
                  <a:extLst>
                    <a:ext uri="{9D8B030D-6E8A-4147-A177-3AD203B41FA5}">
                      <a16:colId xmlns:a16="http://schemas.microsoft.com/office/drawing/2014/main" val="2333966302"/>
                    </a:ext>
                  </a:extLst>
                </a:gridCol>
                <a:gridCol w="3586742">
                  <a:extLst>
                    <a:ext uri="{9D8B030D-6E8A-4147-A177-3AD203B41FA5}">
                      <a16:colId xmlns:a16="http://schemas.microsoft.com/office/drawing/2014/main" val="3855908050"/>
                    </a:ext>
                  </a:extLst>
                </a:gridCol>
              </a:tblGrid>
              <a:tr h="20402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Last Nam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First Nam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886102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Adam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Lis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Lisa.M.Adams2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56164794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Carrol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Bridgett 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bridgett.a.carroll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4683437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Boldt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im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ames.j.boldt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33722437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Coli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Josh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joshua.d.coli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40994386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Cook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Mik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mike.cook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764991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Cothre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irby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kirby.j.cothre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0201643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Costello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Timothy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timothy.r.costello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13502908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Crawford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Lind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linda.k.crawford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00037916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Curti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Angel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angela.h.curtis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58325507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Dye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eathe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eather.L.Dyer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80751317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Finazzo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Krist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krista.a.finazzo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09486081"/>
                  </a:ext>
                </a:extLst>
              </a:tr>
              <a:tr h="196512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Grave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Greg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gregory.g.graves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2451247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arringto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ewely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chemeClr val="accent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ewelyn.L.Harringto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03813422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Hick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haro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Fharon.M.Hicks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26016611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ohnson-Frick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sli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leslie.johnson-frick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80000231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McInturf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Michae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michael.mcinturf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11081603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Morrel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Amand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Amanda.D.Morrell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98597991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Pfaff J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Ros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ross.a.pfaff.jr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97314899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She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Michae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Michael.P.Shea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0637649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Strisse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Derek 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Derek.J.Strissel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37539405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Torre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dyani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>
                              <a:lumMod val="50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adyani.torres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6245573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Vacca 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Salvator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salvatore.n.vacca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9282436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Vo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Jennife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Jennifer.T.Vo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58946936"/>
                  </a:ext>
                </a:extLst>
              </a:tr>
              <a:tr h="219298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William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Tyron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B9BD5"/>
                          </a:solidFill>
                          <a:effectLst/>
                          <a:latin typeface="Calibri" panose="020F0502020204030204" pitchFamily="34" charset="0"/>
                        </a:rPr>
                        <a:t>tyrone.m.williams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73818729"/>
                  </a:ext>
                </a:extLst>
              </a:tr>
            </a:tbl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04763E17-BB71-4DDB-8F4D-3A8DE07DF0B8}"/>
              </a:ext>
            </a:extLst>
          </p:cNvPr>
          <p:cNvGrpSpPr/>
          <p:nvPr/>
        </p:nvGrpSpPr>
        <p:grpSpPr>
          <a:xfrm>
            <a:off x="9419613" y="320864"/>
            <a:ext cx="2386149" cy="1384995"/>
            <a:chOff x="9407257" y="325929"/>
            <a:chExt cx="2386149" cy="1384995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323EC04-1C23-4E24-9A27-335797A171F1}"/>
                </a:ext>
              </a:extLst>
            </p:cNvPr>
            <p:cNvGrpSpPr/>
            <p:nvPr/>
          </p:nvGrpSpPr>
          <p:grpSpPr>
            <a:xfrm>
              <a:off x="9407257" y="325929"/>
              <a:ext cx="2386149" cy="1384995"/>
              <a:chOff x="9407257" y="325929"/>
              <a:chExt cx="2386149" cy="1384995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C169B0EC-D0F9-4F6D-8DE7-81F06A4A1D63}"/>
                  </a:ext>
                </a:extLst>
              </p:cNvPr>
              <p:cNvSpPr txBox="1"/>
              <p:nvPr/>
            </p:nvSpPr>
            <p:spPr>
              <a:xfrm>
                <a:off x="9407257" y="325929"/>
                <a:ext cx="2386149" cy="1384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Legend:</a:t>
                </a:r>
              </a:p>
              <a:p>
                <a:r>
                  <a:rPr lang="en-US" sz="1200" dirty="0"/>
                  <a:t>Chief Officer &amp; EVP:</a:t>
                </a:r>
              </a:p>
              <a:p>
                <a:r>
                  <a:rPr lang="en-US" sz="1200" dirty="0"/>
                  <a:t>Vice President:</a:t>
                </a:r>
              </a:p>
              <a:p>
                <a:r>
                  <a:rPr lang="en-US" sz="1200" dirty="0"/>
                  <a:t>Executive Dir:</a:t>
                </a:r>
              </a:p>
              <a:p>
                <a:r>
                  <a:rPr lang="en-US" sz="1200" dirty="0"/>
                  <a:t>Senior Dir:</a:t>
                </a:r>
              </a:p>
              <a:p>
                <a:r>
                  <a:rPr lang="en-US" sz="1200" dirty="0"/>
                  <a:t>Director:</a:t>
                </a:r>
              </a:p>
              <a:p>
                <a:r>
                  <a:rPr lang="en-US" sz="1200" dirty="0"/>
                  <a:t>Manager:</a:t>
                </a:r>
                <a:endParaRPr lang="en-US" dirty="0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21029DCA-60FA-4533-BE0F-727AC8EEEB02}"/>
                  </a:ext>
                </a:extLst>
              </p:cNvPr>
              <p:cNvSpPr/>
              <p:nvPr/>
            </p:nvSpPr>
            <p:spPr>
              <a:xfrm>
                <a:off x="10927937" y="598339"/>
                <a:ext cx="329124" cy="8523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C8535AFE-DE0F-49CC-A1CE-62C364FF1DEE}"/>
                  </a:ext>
                </a:extLst>
              </p:cNvPr>
              <p:cNvSpPr/>
              <p:nvPr/>
            </p:nvSpPr>
            <p:spPr>
              <a:xfrm>
                <a:off x="10927937" y="788413"/>
                <a:ext cx="329124" cy="8522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C07B4F32-8A56-4E98-80AB-318EE024C034}"/>
                  </a:ext>
                </a:extLst>
              </p:cNvPr>
              <p:cNvSpPr/>
              <p:nvPr/>
            </p:nvSpPr>
            <p:spPr>
              <a:xfrm>
                <a:off x="10927937" y="1324945"/>
                <a:ext cx="329124" cy="8522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AFB4DA43-23EE-4F56-8124-E880130FCE79}"/>
                  </a:ext>
                </a:extLst>
              </p:cNvPr>
              <p:cNvSpPr/>
              <p:nvPr/>
            </p:nvSpPr>
            <p:spPr>
              <a:xfrm>
                <a:off x="10927937" y="975813"/>
                <a:ext cx="329124" cy="85229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38DB126-245A-4657-9F94-065E9D003096}"/>
                </a:ext>
              </a:extLst>
            </p:cNvPr>
            <p:cNvSpPr/>
            <p:nvPr/>
          </p:nvSpPr>
          <p:spPr>
            <a:xfrm>
              <a:off x="10927937" y="1513209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F7092073-E9E2-440C-B85E-5D137747028F}"/>
              </a:ext>
            </a:extLst>
          </p:cNvPr>
          <p:cNvSpPr/>
          <p:nvPr/>
        </p:nvSpPr>
        <p:spPr>
          <a:xfrm>
            <a:off x="10940293" y="1126161"/>
            <a:ext cx="329124" cy="8522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17349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C353D-1166-4DC3-9B3C-2387A47FCA4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49952" y="0"/>
            <a:ext cx="7470048" cy="94386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 Chief Commerce &amp; Business Solutions Officer Organiz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9D3F07-39BE-41B5-BB00-6AB0CA628939}"/>
              </a:ext>
            </a:extLst>
          </p:cNvPr>
          <p:cNvSpPr/>
          <p:nvPr/>
        </p:nvSpPr>
        <p:spPr>
          <a:xfrm>
            <a:off x="5974878" y="3244430"/>
            <a:ext cx="242248" cy="3691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n-US" sz="1798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798" dirty="0">
              <a:solidFill>
                <a:prstClr val="black"/>
              </a:solidFill>
              <a:latin typeface="Rockwell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46BD3D7-FCB7-4107-A5C3-01C63215E2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15548006"/>
              </p:ext>
            </p:extLst>
          </p:nvPr>
        </p:nvGraphicFramePr>
        <p:xfrm>
          <a:off x="1470991" y="1258957"/>
          <a:ext cx="8560905" cy="35621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2CFB4BE7-41C8-4528-A2A1-AEDCE51B6840}"/>
              </a:ext>
            </a:extLst>
          </p:cNvPr>
          <p:cNvGrpSpPr/>
          <p:nvPr/>
        </p:nvGrpSpPr>
        <p:grpSpPr>
          <a:xfrm>
            <a:off x="9518467" y="313681"/>
            <a:ext cx="2386149" cy="1200329"/>
            <a:chOff x="9518467" y="313681"/>
            <a:chExt cx="2386149" cy="1200329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D920191-9ECF-4AAF-820D-A89858E716AA}"/>
                </a:ext>
              </a:extLst>
            </p:cNvPr>
            <p:cNvGrpSpPr/>
            <p:nvPr/>
          </p:nvGrpSpPr>
          <p:grpSpPr>
            <a:xfrm>
              <a:off x="9518467" y="313681"/>
              <a:ext cx="2386149" cy="1200329"/>
              <a:chOff x="9518467" y="313681"/>
              <a:chExt cx="2386149" cy="1200329"/>
            </a:xfrm>
          </p:grpSpPr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2EFE70E-1257-40AD-96BB-F5E525A80E3E}"/>
                  </a:ext>
                </a:extLst>
              </p:cNvPr>
              <p:cNvSpPr txBox="1"/>
              <p:nvPr/>
            </p:nvSpPr>
            <p:spPr>
              <a:xfrm>
                <a:off x="9518467" y="313681"/>
                <a:ext cx="2386149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Legend:</a:t>
                </a:r>
              </a:p>
              <a:p>
                <a:r>
                  <a:rPr lang="en-US" sz="1200" dirty="0"/>
                  <a:t>Chief Officer &amp; EVP:</a:t>
                </a:r>
              </a:p>
              <a:p>
                <a:r>
                  <a:rPr lang="en-US" sz="1200" dirty="0"/>
                  <a:t>Vice President:</a:t>
                </a:r>
              </a:p>
              <a:p>
                <a:r>
                  <a:rPr lang="en-US" sz="1200" dirty="0"/>
                  <a:t>Executive Dir:</a:t>
                </a:r>
              </a:p>
              <a:p>
                <a:r>
                  <a:rPr lang="en-US" sz="1200" dirty="0"/>
                  <a:t>Director:</a:t>
                </a:r>
              </a:p>
              <a:p>
                <a:r>
                  <a:rPr lang="en-US" sz="1200" dirty="0"/>
                  <a:t>Manager:</a:t>
                </a:r>
                <a:endParaRPr lang="en-US" dirty="0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E872870E-A25A-446A-8A09-6D7F66C56EC2}"/>
                  </a:ext>
                </a:extLst>
              </p:cNvPr>
              <p:cNvSpPr/>
              <p:nvPr/>
            </p:nvSpPr>
            <p:spPr>
              <a:xfrm>
                <a:off x="10927937" y="598339"/>
                <a:ext cx="329124" cy="8523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435966B2-078A-4E70-BEC1-847C823B25EC}"/>
                  </a:ext>
                </a:extLst>
              </p:cNvPr>
              <p:cNvSpPr/>
              <p:nvPr/>
            </p:nvSpPr>
            <p:spPr>
              <a:xfrm>
                <a:off x="10927937" y="788413"/>
                <a:ext cx="329124" cy="8522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9E837972-3C32-4CC1-8964-36579DAB2364}"/>
                  </a:ext>
                </a:extLst>
              </p:cNvPr>
              <p:cNvSpPr/>
              <p:nvPr/>
            </p:nvSpPr>
            <p:spPr>
              <a:xfrm>
                <a:off x="10927937" y="1148056"/>
                <a:ext cx="329124" cy="8522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55FA8670-9EF9-4A52-8BCC-DF38DB3E132F}"/>
                  </a:ext>
                </a:extLst>
              </p:cNvPr>
              <p:cNvSpPr/>
              <p:nvPr/>
            </p:nvSpPr>
            <p:spPr>
              <a:xfrm>
                <a:off x="10927937" y="975813"/>
                <a:ext cx="329124" cy="85229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B9020378-FBB2-40E8-B899-808A026CFF2F}"/>
                </a:ext>
              </a:extLst>
            </p:cNvPr>
            <p:cNvSpPr/>
            <p:nvPr/>
          </p:nvSpPr>
          <p:spPr>
            <a:xfrm>
              <a:off x="10927937" y="1335456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1903439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4796294-C614-47B1-A40B-F1058C0743E7}"/>
              </a:ext>
            </a:extLst>
          </p:cNvPr>
          <p:cNvGrpSpPr/>
          <p:nvPr/>
        </p:nvGrpSpPr>
        <p:grpSpPr>
          <a:xfrm>
            <a:off x="9518467" y="220356"/>
            <a:ext cx="2386149" cy="1200329"/>
            <a:chOff x="9518467" y="313681"/>
            <a:chExt cx="2386149" cy="1200329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BFCAD079-21A4-4AAC-8206-02D8B4C51C5C}"/>
                </a:ext>
              </a:extLst>
            </p:cNvPr>
            <p:cNvSpPr txBox="1"/>
            <p:nvPr/>
          </p:nvSpPr>
          <p:spPr>
            <a:xfrm>
              <a:off x="9518467" y="313681"/>
              <a:ext cx="238614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Legend:</a:t>
              </a:r>
            </a:p>
            <a:p>
              <a:r>
                <a:rPr lang="en-US" sz="1200" dirty="0"/>
                <a:t>Chief Officer &amp; EVP:</a:t>
              </a:r>
            </a:p>
            <a:p>
              <a:r>
                <a:rPr lang="en-US" sz="1200" dirty="0"/>
                <a:t>Vice President:</a:t>
              </a:r>
            </a:p>
            <a:p>
              <a:r>
                <a:rPr lang="en-US" sz="1200" dirty="0"/>
                <a:t>Executive Dir:</a:t>
              </a:r>
            </a:p>
            <a:p>
              <a:r>
                <a:rPr lang="en-US" sz="1200" dirty="0"/>
                <a:t>Director:</a:t>
              </a:r>
            </a:p>
            <a:p>
              <a:r>
                <a:rPr lang="en-US" sz="1200" dirty="0"/>
                <a:t>Manager:</a:t>
              </a:r>
              <a:endParaRPr lang="en-US" dirty="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07669F3-4357-448A-8D5E-B684598DFEAE}"/>
                </a:ext>
              </a:extLst>
            </p:cNvPr>
            <p:cNvSpPr/>
            <p:nvPr/>
          </p:nvSpPr>
          <p:spPr>
            <a:xfrm>
              <a:off x="10927937" y="598339"/>
              <a:ext cx="329124" cy="8523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2322494-B804-4465-83E6-743CA8EAA524}"/>
                </a:ext>
              </a:extLst>
            </p:cNvPr>
            <p:cNvSpPr/>
            <p:nvPr/>
          </p:nvSpPr>
          <p:spPr>
            <a:xfrm>
              <a:off x="10927937" y="788413"/>
              <a:ext cx="329124" cy="8522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3156133D-B4E3-49D3-A1D2-6F470D66B5D4}"/>
                </a:ext>
              </a:extLst>
            </p:cNvPr>
            <p:cNvSpPr/>
            <p:nvPr/>
          </p:nvSpPr>
          <p:spPr>
            <a:xfrm>
              <a:off x="10927937" y="1148056"/>
              <a:ext cx="329124" cy="852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7A224B22-DCF3-4327-84A5-0A83D4616B6B}"/>
                </a:ext>
              </a:extLst>
            </p:cNvPr>
            <p:cNvSpPr/>
            <p:nvPr/>
          </p:nvSpPr>
          <p:spPr>
            <a:xfrm>
              <a:off x="10927937" y="975813"/>
              <a:ext cx="329124" cy="85229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52D814A-2491-4EC6-915C-47AEE598A4C0}"/>
              </a:ext>
            </a:extLst>
          </p:cNvPr>
          <p:cNvSpPr/>
          <p:nvPr/>
        </p:nvSpPr>
        <p:spPr>
          <a:xfrm>
            <a:off x="10927937" y="1226974"/>
            <a:ext cx="329124" cy="85229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99F42F0-9681-4345-9A2B-0F3E99702046}"/>
              </a:ext>
            </a:extLst>
          </p:cNvPr>
          <p:cNvSpPr/>
          <p:nvPr/>
        </p:nvSpPr>
        <p:spPr>
          <a:xfrm>
            <a:off x="772633" y="371238"/>
            <a:ext cx="648940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Jakki Strako, Chief Commerce &amp; Business Solutions Officer &amp; EVP 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E9CB1C3-AC24-4F06-AEDA-D98EED7267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3087243"/>
              </p:ext>
            </p:extLst>
          </p:nvPr>
        </p:nvGraphicFramePr>
        <p:xfrm>
          <a:off x="934939" y="1312203"/>
          <a:ext cx="5330454" cy="1477928"/>
        </p:xfrm>
        <a:graphic>
          <a:graphicData uri="http://schemas.openxmlformats.org/drawingml/2006/table">
            <a:tbl>
              <a:tblPr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119255">
                  <a:extLst>
                    <a:ext uri="{9D8B030D-6E8A-4147-A177-3AD203B41FA5}">
                      <a16:colId xmlns:a16="http://schemas.microsoft.com/office/drawing/2014/main" val="2768008405"/>
                    </a:ext>
                  </a:extLst>
                </a:gridCol>
                <a:gridCol w="1203200">
                  <a:extLst>
                    <a:ext uri="{9D8B030D-6E8A-4147-A177-3AD203B41FA5}">
                      <a16:colId xmlns:a16="http://schemas.microsoft.com/office/drawing/2014/main" val="774141983"/>
                    </a:ext>
                  </a:extLst>
                </a:gridCol>
                <a:gridCol w="3007999">
                  <a:extLst>
                    <a:ext uri="{9D8B030D-6E8A-4147-A177-3AD203B41FA5}">
                      <a16:colId xmlns:a16="http://schemas.microsoft.com/office/drawing/2014/main" val="591510704"/>
                    </a:ext>
                  </a:extLst>
                </a:gridCol>
              </a:tblGrid>
              <a:tr h="305330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Last Nam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First Nam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E1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8611248"/>
                  </a:ext>
                </a:extLst>
              </a:tr>
              <a:tr h="3908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Routsolia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Pete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peter.routsolias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89898356"/>
                  </a:ext>
                </a:extLst>
              </a:tr>
              <a:tr h="39086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Samr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Tom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tom.a.samra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1275582"/>
                  </a:ext>
                </a:extLst>
              </a:tr>
              <a:tr h="390866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43" marR="5443" marT="5443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026606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22409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B806490-E3D3-4AE9-B481-88E524E257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3475" y="27971"/>
            <a:ext cx="10245276" cy="603484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404B58D-893F-427E-A337-B2ECC927C218}"/>
              </a:ext>
            </a:extLst>
          </p:cNvPr>
          <p:cNvSpPr/>
          <p:nvPr/>
        </p:nvSpPr>
        <p:spPr>
          <a:xfrm>
            <a:off x="9079316" y="4799496"/>
            <a:ext cx="2623801" cy="12633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4A0137A-3FDD-441E-ADFB-7EDAF48B1735}"/>
              </a:ext>
            </a:extLst>
          </p:cNvPr>
          <p:cNvSpPr txBox="1">
            <a:spLocks/>
          </p:cNvSpPr>
          <p:nvPr/>
        </p:nvSpPr>
        <p:spPr>
          <a:xfrm>
            <a:off x="463460" y="-336065"/>
            <a:ext cx="10512862" cy="13252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Leadership Team</a:t>
            </a:r>
          </a:p>
        </p:txBody>
      </p:sp>
    </p:spTree>
    <p:extLst>
      <p:ext uri="{BB962C8B-B14F-4D97-AF65-F5344CB8AC3E}">
        <p14:creationId xmlns:p14="http://schemas.microsoft.com/office/powerpoint/2010/main" val="1512614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C353D-1166-4DC3-9B3C-2387A47FCA4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71849" y="-227008"/>
            <a:ext cx="10512862" cy="1325218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Chief Technology Operations Officer Organiz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9D3F07-39BE-41B5-BB00-6AB0CA628939}"/>
              </a:ext>
            </a:extLst>
          </p:cNvPr>
          <p:cNvSpPr/>
          <p:nvPr/>
        </p:nvSpPr>
        <p:spPr>
          <a:xfrm>
            <a:off x="5974878" y="3244430"/>
            <a:ext cx="242248" cy="3691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n-US" sz="1798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798" dirty="0">
              <a:solidFill>
                <a:prstClr val="black"/>
              </a:solidFill>
              <a:latin typeface="Rockwell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46BD3D7-FCB7-4107-A5C3-01C63215E2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3142679"/>
              </p:ext>
            </p:extLst>
          </p:nvPr>
        </p:nvGraphicFramePr>
        <p:xfrm>
          <a:off x="780620" y="788413"/>
          <a:ext cx="10788528" cy="51614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8" name="Group 27">
            <a:extLst>
              <a:ext uri="{FF2B5EF4-FFF2-40B4-BE49-F238E27FC236}">
                <a16:creationId xmlns:a16="http://schemas.microsoft.com/office/drawing/2014/main" id="{BB97BD63-60C1-446D-A4C0-FC71D5355A70}"/>
              </a:ext>
            </a:extLst>
          </p:cNvPr>
          <p:cNvGrpSpPr/>
          <p:nvPr/>
        </p:nvGrpSpPr>
        <p:grpSpPr>
          <a:xfrm>
            <a:off x="9518467" y="313681"/>
            <a:ext cx="2386149" cy="1200329"/>
            <a:chOff x="9518467" y="313681"/>
            <a:chExt cx="2386149" cy="1200329"/>
          </a:xfrm>
        </p:grpSpPr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77C20145-1E09-4340-8BC5-CC6B1FA4F5FD}"/>
                </a:ext>
              </a:extLst>
            </p:cNvPr>
            <p:cNvSpPr txBox="1"/>
            <p:nvPr/>
          </p:nvSpPr>
          <p:spPr>
            <a:xfrm>
              <a:off x="9518467" y="313681"/>
              <a:ext cx="238614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Legend:</a:t>
              </a:r>
            </a:p>
            <a:p>
              <a:r>
                <a:rPr lang="en-US" sz="1200" dirty="0"/>
                <a:t>Chief Officer &amp; EVP:</a:t>
              </a:r>
            </a:p>
            <a:p>
              <a:r>
                <a:rPr lang="en-US" sz="1200" dirty="0"/>
                <a:t>Vice President:</a:t>
              </a:r>
            </a:p>
            <a:p>
              <a:r>
                <a:rPr lang="en-US" sz="1200" dirty="0"/>
                <a:t>Executive Dir:</a:t>
              </a:r>
            </a:p>
            <a:p>
              <a:r>
                <a:rPr lang="en-US" sz="1200" dirty="0"/>
                <a:t>Director:</a:t>
              </a:r>
            </a:p>
            <a:p>
              <a:r>
                <a:rPr lang="en-US" sz="1200" dirty="0"/>
                <a:t>Manager:</a:t>
              </a:r>
              <a:endParaRPr lang="en-US" dirty="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1A439F05-782D-4A58-9759-B028F6A39C3A}"/>
                </a:ext>
              </a:extLst>
            </p:cNvPr>
            <p:cNvSpPr/>
            <p:nvPr/>
          </p:nvSpPr>
          <p:spPr>
            <a:xfrm>
              <a:off x="10927937" y="598339"/>
              <a:ext cx="329124" cy="8523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BF58780-EB74-4A6C-8E78-EBB41669E20F}"/>
                </a:ext>
              </a:extLst>
            </p:cNvPr>
            <p:cNvSpPr/>
            <p:nvPr/>
          </p:nvSpPr>
          <p:spPr>
            <a:xfrm>
              <a:off x="10927937" y="788413"/>
              <a:ext cx="329124" cy="8522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8C022B14-FBB3-4BCB-A1F8-57D864720D1A}"/>
                </a:ext>
              </a:extLst>
            </p:cNvPr>
            <p:cNvSpPr/>
            <p:nvPr/>
          </p:nvSpPr>
          <p:spPr>
            <a:xfrm>
              <a:off x="10927937" y="1148056"/>
              <a:ext cx="329124" cy="852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B77A06BB-1D36-4935-A33E-6FE63BF36B97}"/>
                </a:ext>
              </a:extLst>
            </p:cNvPr>
            <p:cNvSpPr/>
            <p:nvPr/>
          </p:nvSpPr>
          <p:spPr>
            <a:xfrm>
              <a:off x="10927937" y="975813"/>
              <a:ext cx="329124" cy="85229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2E48406F-E11F-414F-B41D-DAACBB714F31}"/>
              </a:ext>
            </a:extLst>
          </p:cNvPr>
          <p:cNvGrpSpPr/>
          <p:nvPr/>
        </p:nvGrpSpPr>
        <p:grpSpPr>
          <a:xfrm>
            <a:off x="9518467" y="313681"/>
            <a:ext cx="2386149" cy="1200329"/>
            <a:chOff x="9518467" y="313681"/>
            <a:chExt cx="2386149" cy="1200329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710FFAA1-76D9-46CC-8ADD-D113F812526D}"/>
                </a:ext>
              </a:extLst>
            </p:cNvPr>
            <p:cNvGrpSpPr/>
            <p:nvPr/>
          </p:nvGrpSpPr>
          <p:grpSpPr>
            <a:xfrm>
              <a:off x="9518467" y="313681"/>
              <a:ext cx="2386149" cy="1200329"/>
              <a:chOff x="9518467" y="313681"/>
              <a:chExt cx="2386149" cy="1200329"/>
            </a:xfrm>
          </p:grpSpPr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A8797B18-BADA-4944-A0C8-A46038CE495B}"/>
                  </a:ext>
                </a:extLst>
              </p:cNvPr>
              <p:cNvSpPr txBox="1"/>
              <p:nvPr/>
            </p:nvSpPr>
            <p:spPr>
              <a:xfrm>
                <a:off x="9518467" y="313681"/>
                <a:ext cx="2386149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Legend:</a:t>
                </a:r>
              </a:p>
              <a:p>
                <a:r>
                  <a:rPr lang="en-US" sz="1200" dirty="0"/>
                  <a:t>Chief Officer &amp; EVP:</a:t>
                </a:r>
              </a:p>
              <a:p>
                <a:r>
                  <a:rPr lang="en-US" sz="1200" dirty="0"/>
                  <a:t>Vice President:</a:t>
                </a:r>
              </a:p>
              <a:p>
                <a:r>
                  <a:rPr lang="en-US" sz="1200" dirty="0"/>
                  <a:t>Executive Dir:</a:t>
                </a:r>
              </a:p>
              <a:p>
                <a:r>
                  <a:rPr lang="en-US" sz="1200" dirty="0"/>
                  <a:t>Director:</a:t>
                </a:r>
              </a:p>
              <a:p>
                <a:r>
                  <a:rPr lang="en-US" sz="1200" dirty="0"/>
                  <a:t>Manager:</a:t>
                </a:r>
                <a:endParaRPr lang="en-US" dirty="0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A4C7AD4C-3BA1-4C95-8339-448A9EEF50B1}"/>
                  </a:ext>
                </a:extLst>
              </p:cNvPr>
              <p:cNvSpPr/>
              <p:nvPr/>
            </p:nvSpPr>
            <p:spPr>
              <a:xfrm>
                <a:off x="10927937" y="598339"/>
                <a:ext cx="329124" cy="8523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1F2DB4CF-594C-43A1-81A2-83D9C2C2DECA}"/>
                  </a:ext>
                </a:extLst>
              </p:cNvPr>
              <p:cNvSpPr/>
              <p:nvPr/>
            </p:nvSpPr>
            <p:spPr>
              <a:xfrm>
                <a:off x="10927937" y="788413"/>
                <a:ext cx="329124" cy="8522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4F7B0A92-A591-4EE9-BF44-6C2E3DAC8C10}"/>
                  </a:ext>
                </a:extLst>
              </p:cNvPr>
              <p:cNvSpPr/>
              <p:nvPr/>
            </p:nvSpPr>
            <p:spPr>
              <a:xfrm>
                <a:off x="10927937" y="1148056"/>
                <a:ext cx="329124" cy="8522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C7F2EC1F-4471-4AB3-A789-07E444425E93}"/>
                  </a:ext>
                </a:extLst>
              </p:cNvPr>
              <p:cNvSpPr/>
              <p:nvPr/>
            </p:nvSpPr>
            <p:spPr>
              <a:xfrm>
                <a:off x="10927937" y="975813"/>
                <a:ext cx="329124" cy="85229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FD40130-8434-4DFA-B734-5AE36700F749}"/>
                </a:ext>
              </a:extLst>
            </p:cNvPr>
            <p:cNvSpPr/>
            <p:nvPr/>
          </p:nvSpPr>
          <p:spPr>
            <a:xfrm>
              <a:off x="10927937" y="1335456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748635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D61AA40-59A2-46CE-A58D-B023F7467819}"/>
              </a:ext>
            </a:extLst>
          </p:cNvPr>
          <p:cNvSpPr/>
          <p:nvPr/>
        </p:nvSpPr>
        <p:spPr>
          <a:xfrm>
            <a:off x="934939" y="314237"/>
            <a:ext cx="593887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b="1" dirty="0">
                <a:solidFill>
                  <a:srgbClr val="305496"/>
                </a:solidFill>
                <a:latin typeface="Calibri" panose="020F0502020204030204" pitchFamily="34" charset="0"/>
              </a:rPr>
              <a:t>Scott Bombaugh, Chief Technology Operations Officer &amp; EVP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9195689-CEC1-42D9-AFD3-DE8C5A2702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932821"/>
              </p:ext>
            </p:extLst>
          </p:nvPr>
        </p:nvGraphicFramePr>
        <p:xfrm>
          <a:off x="934939" y="1107298"/>
          <a:ext cx="6229349" cy="3960331"/>
        </p:xfrm>
        <a:graphic>
          <a:graphicData uri="http://schemas.openxmlformats.org/drawingml/2006/table">
            <a:tbl>
              <a:tblPr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314676">
                  <a:extLst>
                    <a:ext uri="{9D8B030D-6E8A-4147-A177-3AD203B41FA5}">
                      <a16:colId xmlns:a16="http://schemas.microsoft.com/office/drawing/2014/main" val="3798894742"/>
                    </a:ext>
                  </a:extLst>
                </a:gridCol>
                <a:gridCol w="1400682">
                  <a:extLst>
                    <a:ext uri="{9D8B030D-6E8A-4147-A177-3AD203B41FA5}">
                      <a16:colId xmlns:a16="http://schemas.microsoft.com/office/drawing/2014/main" val="1346261063"/>
                    </a:ext>
                  </a:extLst>
                </a:gridCol>
                <a:gridCol w="3513991">
                  <a:extLst>
                    <a:ext uri="{9D8B030D-6E8A-4147-A177-3AD203B41FA5}">
                      <a16:colId xmlns:a16="http://schemas.microsoft.com/office/drawing/2014/main" val="1771226195"/>
                    </a:ext>
                  </a:extLst>
                </a:gridCol>
              </a:tblGrid>
              <a:tr h="24068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Last Nam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First Nam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7795866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shaari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hahpou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hahpour.Ashaari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0681969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holka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mit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mit.Cholkar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18776386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ron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onald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on.e.crone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6341332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earing 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tephe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teve.m.dearing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46039244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ixo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Robert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robert.e.dixon3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81354789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unlop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oh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ohn.m.dunlop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86001572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2F75B5"/>
                          </a:solidFill>
                          <a:effectLst/>
                          <a:latin typeface="Calibri" panose="020F0502020204030204" pitchFamily="34" charset="0"/>
                        </a:rPr>
                        <a:t>Hes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2F75B5"/>
                          </a:solidFill>
                          <a:effectLst/>
                          <a:latin typeface="Calibri" panose="020F0502020204030204" pitchFamily="34" charset="0"/>
                        </a:rPr>
                        <a:t>Juliaan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2F75B5"/>
                          </a:solidFill>
                          <a:effectLst/>
                          <a:latin typeface="Calibri" panose="020F0502020204030204" pitchFamily="34" charset="0"/>
                        </a:rPr>
                        <a:t>jsanders.hess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96245946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Johnso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Jeffrey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Jeffrey.C.Johnso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87452333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Lee 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Laure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Lauren.A.Lee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468370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Malon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Lind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lindamarie.malone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84678807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kern="120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Mora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kern="120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obert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robert.c.mora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0799914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Rebli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Gary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Gary.C.Rebli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38618369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tephe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Vicki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victoria.k.stephe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243700216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Tacke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effrey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effrey.J.Tackes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6341040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Turne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liso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Alison.Turner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44089819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Udomsawat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Wilairat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Gun.Udomsawat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90238704"/>
                  </a:ext>
                </a:extLst>
              </a:tr>
              <a:tr h="203491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Wilso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ames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ames.d.wilso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79949960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825E59A0-7994-4C51-BE8E-82E5EA4527AF}"/>
              </a:ext>
            </a:extLst>
          </p:cNvPr>
          <p:cNvGrpSpPr/>
          <p:nvPr/>
        </p:nvGrpSpPr>
        <p:grpSpPr>
          <a:xfrm>
            <a:off x="9518467" y="313681"/>
            <a:ext cx="2386149" cy="1200329"/>
            <a:chOff x="9518467" y="313681"/>
            <a:chExt cx="2386149" cy="1200329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FF92CB85-B1E4-46A5-99B9-F82FC6D0E5A9}"/>
                </a:ext>
              </a:extLst>
            </p:cNvPr>
            <p:cNvGrpSpPr/>
            <p:nvPr/>
          </p:nvGrpSpPr>
          <p:grpSpPr>
            <a:xfrm>
              <a:off x="9518467" y="313681"/>
              <a:ext cx="2386149" cy="1200329"/>
              <a:chOff x="9518467" y="313681"/>
              <a:chExt cx="2386149" cy="1200329"/>
            </a:xfrm>
          </p:grpSpPr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29C656A4-CA7E-4BCE-9FB8-1B2C14F4E526}"/>
                  </a:ext>
                </a:extLst>
              </p:cNvPr>
              <p:cNvSpPr txBox="1"/>
              <p:nvPr/>
            </p:nvSpPr>
            <p:spPr>
              <a:xfrm>
                <a:off x="9518467" y="313681"/>
                <a:ext cx="2386149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Legend:</a:t>
                </a:r>
              </a:p>
              <a:p>
                <a:r>
                  <a:rPr lang="en-US" sz="1200" dirty="0"/>
                  <a:t>Chief Officer &amp; EVP:</a:t>
                </a:r>
              </a:p>
              <a:p>
                <a:r>
                  <a:rPr lang="en-US" sz="1200" dirty="0"/>
                  <a:t>Vice President:</a:t>
                </a:r>
              </a:p>
              <a:p>
                <a:r>
                  <a:rPr lang="en-US" sz="1200" dirty="0"/>
                  <a:t>Executive Dir:</a:t>
                </a:r>
              </a:p>
              <a:p>
                <a:r>
                  <a:rPr lang="en-US" sz="1200" dirty="0"/>
                  <a:t>Director:</a:t>
                </a:r>
              </a:p>
              <a:p>
                <a:r>
                  <a:rPr lang="en-US" sz="1200" dirty="0"/>
                  <a:t>Manager:</a:t>
                </a:r>
                <a:endParaRPr lang="en-US" dirty="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39629584-B0BB-4B3F-BAB9-1EF1C650159C}"/>
                  </a:ext>
                </a:extLst>
              </p:cNvPr>
              <p:cNvSpPr/>
              <p:nvPr/>
            </p:nvSpPr>
            <p:spPr>
              <a:xfrm>
                <a:off x="10927937" y="598339"/>
                <a:ext cx="329124" cy="8523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70B77D7-8383-4332-B077-E0DCB531F7CA}"/>
                  </a:ext>
                </a:extLst>
              </p:cNvPr>
              <p:cNvSpPr/>
              <p:nvPr/>
            </p:nvSpPr>
            <p:spPr>
              <a:xfrm>
                <a:off x="10927937" y="788413"/>
                <a:ext cx="329124" cy="8522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E50C29F7-904C-4EFF-BE3A-D0D4C10FC010}"/>
                  </a:ext>
                </a:extLst>
              </p:cNvPr>
              <p:cNvSpPr/>
              <p:nvPr/>
            </p:nvSpPr>
            <p:spPr>
              <a:xfrm>
                <a:off x="10927937" y="1148056"/>
                <a:ext cx="329124" cy="8522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3DB7138-6C11-47B3-BFC7-427F1465D37D}"/>
                  </a:ext>
                </a:extLst>
              </p:cNvPr>
              <p:cNvSpPr/>
              <p:nvPr/>
            </p:nvSpPr>
            <p:spPr>
              <a:xfrm>
                <a:off x="10927937" y="975813"/>
                <a:ext cx="329124" cy="85229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ED0C2028-5809-4394-94B8-857F48E55FA2}"/>
                </a:ext>
              </a:extLst>
            </p:cNvPr>
            <p:cNvSpPr/>
            <p:nvPr/>
          </p:nvSpPr>
          <p:spPr>
            <a:xfrm>
              <a:off x="10927937" y="1335456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668811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D9D3F07-39BE-41B5-BB00-6AB0CA628939}"/>
              </a:ext>
            </a:extLst>
          </p:cNvPr>
          <p:cNvSpPr/>
          <p:nvPr/>
        </p:nvSpPr>
        <p:spPr>
          <a:xfrm>
            <a:off x="5974878" y="3244430"/>
            <a:ext cx="242248" cy="3691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n-US" sz="1798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798" dirty="0">
              <a:solidFill>
                <a:prstClr val="black"/>
              </a:solidFill>
              <a:latin typeface="Rockwell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46BD3D7-FCB7-4107-A5C3-01C63215E2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0765740"/>
              </p:ext>
            </p:extLst>
          </p:nvPr>
        </p:nvGraphicFramePr>
        <p:xfrm>
          <a:off x="247829" y="70548"/>
          <a:ext cx="11831875" cy="5888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07C353D-1166-4DC3-9B3C-2387A47FCA4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56114" y="70547"/>
            <a:ext cx="7452382" cy="828250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5">
                    <a:lumMod val="50000"/>
                  </a:schemeClr>
                </a:solidFill>
              </a:rPr>
              <a:t>Chief Logistics &amp; Processing Operations Officer Organization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C5C493F-31CE-4CA5-B173-1CD575086754}"/>
              </a:ext>
            </a:extLst>
          </p:cNvPr>
          <p:cNvGrpSpPr/>
          <p:nvPr/>
        </p:nvGrpSpPr>
        <p:grpSpPr>
          <a:xfrm>
            <a:off x="9518467" y="313681"/>
            <a:ext cx="2386149" cy="1200329"/>
            <a:chOff x="9518467" y="313681"/>
            <a:chExt cx="2386149" cy="1200329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8B37C8DB-F674-4265-949D-28452A824CB7}"/>
                </a:ext>
              </a:extLst>
            </p:cNvPr>
            <p:cNvGrpSpPr/>
            <p:nvPr/>
          </p:nvGrpSpPr>
          <p:grpSpPr>
            <a:xfrm>
              <a:off x="9518467" y="313681"/>
              <a:ext cx="2386149" cy="1200329"/>
              <a:chOff x="9518467" y="313681"/>
              <a:chExt cx="2386149" cy="1200329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8EAAB3CF-F356-4F08-B889-698495A3E82C}"/>
                  </a:ext>
                </a:extLst>
              </p:cNvPr>
              <p:cNvSpPr txBox="1"/>
              <p:nvPr/>
            </p:nvSpPr>
            <p:spPr>
              <a:xfrm>
                <a:off x="9518467" y="313681"/>
                <a:ext cx="2386149" cy="120032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200" dirty="0"/>
                  <a:t>Legend:</a:t>
                </a:r>
              </a:p>
              <a:p>
                <a:r>
                  <a:rPr lang="en-US" sz="1200" dirty="0"/>
                  <a:t>Chief Officer &amp; EVP:</a:t>
                </a:r>
              </a:p>
              <a:p>
                <a:r>
                  <a:rPr lang="en-US" sz="1200" dirty="0"/>
                  <a:t>Vice President:</a:t>
                </a:r>
              </a:p>
              <a:p>
                <a:r>
                  <a:rPr lang="en-US" sz="1200" dirty="0"/>
                  <a:t>Executive Dir:</a:t>
                </a:r>
              </a:p>
              <a:p>
                <a:r>
                  <a:rPr lang="en-US" sz="1200" dirty="0"/>
                  <a:t>Director:</a:t>
                </a:r>
              </a:p>
              <a:p>
                <a:r>
                  <a:rPr lang="en-US" sz="1200" dirty="0"/>
                  <a:t>Manager:</a:t>
                </a:r>
                <a:endParaRPr lang="en-US" dirty="0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D7321CB6-7502-416B-9405-EDDE05F154DF}"/>
                  </a:ext>
                </a:extLst>
              </p:cNvPr>
              <p:cNvSpPr/>
              <p:nvPr/>
            </p:nvSpPr>
            <p:spPr>
              <a:xfrm>
                <a:off x="10927937" y="598339"/>
                <a:ext cx="329124" cy="85230"/>
              </a:xfrm>
              <a:prstGeom prst="rect">
                <a:avLst/>
              </a:prstGeom>
              <a:solidFill>
                <a:schemeClr val="accent1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35350831-81C4-42BF-BCB2-612A07DF3261}"/>
                  </a:ext>
                </a:extLst>
              </p:cNvPr>
              <p:cNvSpPr/>
              <p:nvPr/>
            </p:nvSpPr>
            <p:spPr>
              <a:xfrm>
                <a:off x="10927937" y="788413"/>
                <a:ext cx="329124" cy="85229"/>
              </a:xfrm>
              <a:prstGeom prst="rect">
                <a:avLst/>
              </a:prstGeom>
              <a:solidFill>
                <a:schemeClr val="accent6">
                  <a:lumMod val="75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1DB59958-1B85-44E2-9F11-927F2362BCFA}"/>
                  </a:ext>
                </a:extLst>
              </p:cNvPr>
              <p:cNvSpPr/>
              <p:nvPr/>
            </p:nvSpPr>
            <p:spPr>
              <a:xfrm>
                <a:off x="10927937" y="1148056"/>
                <a:ext cx="329124" cy="85229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048BFEE-B2CA-4DE2-B488-8DC97F64295F}"/>
                  </a:ext>
                </a:extLst>
              </p:cNvPr>
              <p:cNvSpPr/>
              <p:nvPr/>
            </p:nvSpPr>
            <p:spPr>
              <a:xfrm>
                <a:off x="10927937" y="975813"/>
                <a:ext cx="329124" cy="85229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D28DB763-4832-45AC-959C-D5DD1081C86D}"/>
                </a:ext>
              </a:extLst>
            </p:cNvPr>
            <p:cNvSpPr/>
            <p:nvPr/>
          </p:nvSpPr>
          <p:spPr>
            <a:xfrm>
              <a:off x="10927937" y="1335456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5170117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39FE1EA-974C-409B-987C-E0118D74EEF9}"/>
              </a:ext>
            </a:extLst>
          </p:cNvPr>
          <p:cNvSpPr/>
          <p:nvPr/>
        </p:nvSpPr>
        <p:spPr>
          <a:xfrm>
            <a:off x="678184" y="0"/>
            <a:ext cx="77844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0070C0"/>
                </a:solidFill>
                <a:latin typeface="Calibri" panose="020F0502020204030204" pitchFamily="34" charset="0"/>
              </a:rPr>
              <a:t>Isaac Cronkhite, Chief Logistics &amp; Processing Operations Officer &amp; EVP</a:t>
            </a:r>
            <a:r>
              <a:rPr lang="en-US" dirty="0">
                <a:solidFill>
                  <a:srgbClr val="0070C0"/>
                </a:solidFill>
              </a:rPr>
              <a:t>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879F92C4-A3B2-48A4-9ADA-9097B4E4B9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2589432"/>
              </p:ext>
            </p:extLst>
          </p:nvPr>
        </p:nvGraphicFramePr>
        <p:xfrm>
          <a:off x="761242" y="369332"/>
          <a:ext cx="7256168" cy="5568149"/>
        </p:xfrm>
        <a:graphic>
          <a:graphicData uri="http://schemas.openxmlformats.org/drawingml/2006/table">
            <a:tbl>
              <a:tblPr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523605">
                  <a:extLst>
                    <a:ext uri="{9D8B030D-6E8A-4147-A177-3AD203B41FA5}">
                      <a16:colId xmlns:a16="http://schemas.microsoft.com/office/drawing/2014/main" val="1297486872"/>
                    </a:ext>
                  </a:extLst>
                </a:gridCol>
                <a:gridCol w="1967541">
                  <a:extLst>
                    <a:ext uri="{9D8B030D-6E8A-4147-A177-3AD203B41FA5}">
                      <a16:colId xmlns:a16="http://schemas.microsoft.com/office/drawing/2014/main" val="1949308839"/>
                    </a:ext>
                  </a:extLst>
                </a:gridCol>
                <a:gridCol w="3765022">
                  <a:extLst>
                    <a:ext uri="{9D8B030D-6E8A-4147-A177-3AD203B41FA5}">
                      <a16:colId xmlns:a16="http://schemas.microsoft.com/office/drawing/2014/main" val="1840767323"/>
                    </a:ext>
                  </a:extLst>
                </a:gridCol>
              </a:tblGrid>
              <a:tr h="18755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Last Name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First Name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3696775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Barber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Mike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mike.l.barber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9046981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Becker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eff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effrey.becker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20445986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Belair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Larry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larry.j.belair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4018310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Cintro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Robert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robert.cintron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8004197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Colema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Dane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dane.a.coleman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62195359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ouch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Kevi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kevin.couch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50732842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ahlstrom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Mark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mark.d.dahlstrom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61006394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eChambeau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aso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ason.r.dechambeau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0188134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iperi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oh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ohn.j.diperi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65984697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Hagenstei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tephe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tephen.b.hagenstein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94084185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Hawkins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Todd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todd.s.hawkins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7747705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Humi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tephe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teven.humin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8080073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Munoz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Larry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larry.p.munoz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67332422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Perez-Redondo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laire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laire.l.perezredondo</a:t>
                      </a:r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50774408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Pivovar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Rick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rick.j.pivovar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15474831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Ramirez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Erika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erika.v.ramirez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73310094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Raney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Brent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brent.a.raney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24391642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Raymond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cott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cott.p.raymond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9804809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Reynoso 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Kristina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kristina.r.reynoso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05050986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ciurba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huck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harles.a.sciurba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00241178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oto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Britto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britton.d.soto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43508199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Taylor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Mary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mary.t.taylor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60000276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Tosch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cott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scott.d.tosch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22780505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Wagener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Larry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larry.r.wagenerjr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57290820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Webster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ave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david.a.webster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08492912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Weiser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ulie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julie.h.weiser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61077650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Young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hristine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christine.e.young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96996932"/>
                  </a:ext>
                </a:extLst>
              </a:tr>
              <a:tr h="192164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</a:rPr>
                        <a:t>Young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Sharon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1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  <a:hlinkClick r:id="rId2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sh</a:t>
                      </a:r>
                      <a:r>
                        <a:rPr lang="en-US" sz="1200" b="1" i="0" u="none" strike="noStrike" kern="1200" dirty="0">
                          <a:solidFill>
                            <a:schemeClr val="accent2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aron.m.young1@usps.gov</a:t>
                      </a:r>
                    </a:p>
                  </a:txBody>
                  <a:tcPr marL="4408" marR="4408" marT="4408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6244424"/>
                  </a:ext>
                </a:extLst>
              </a:tr>
            </a:tbl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1E42EF21-F5A9-4C49-B6CD-72E0B68E217F}"/>
              </a:ext>
            </a:extLst>
          </p:cNvPr>
          <p:cNvGrpSpPr/>
          <p:nvPr/>
        </p:nvGrpSpPr>
        <p:grpSpPr>
          <a:xfrm>
            <a:off x="9518467" y="220356"/>
            <a:ext cx="2386149" cy="1200329"/>
            <a:chOff x="9518467" y="313681"/>
            <a:chExt cx="2386149" cy="120032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8305CDD-DCEF-4FB7-9ED1-62E64DC64999}"/>
                </a:ext>
              </a:extLst>
            </p:cNvPr>
            <p:cNvSpPr txBox="1"/>
            <p:nvPr/>
          </p:nvSpPr>
          <p:spPr>
            <a:xfrm>
              <a:off x="9518467" y="313681"/>
              <a:ext cx="2386149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Legend:</a:t>
              </a:r>
            </a:p>
            <a:p>
              <a:r>
                <a:rPr lang="en-US" sz="1200" dirty="0"/>
                <a:t>Chief Officer &amp; EVP:</a:t>
              </a:r>
            </a:p>
            <a:p>
              <a:r>
                <a:rPr lang="en-US" sz="1200" dirty="0"/>
                <a:t>Vice President:</a:t>
              </a:r>
            </a:p>
            <a:p>
              <a:r>
                <a:rPr lang="en-US" sz="1200" dirty="0"/>
                <a:t>Executive Dir:</a:t>
              </a:r>
            </a:p>
            <a:p>
              <a:r>
                <a:rPr lang="en-US" sz="1200" dirty="0"/>
                <a:t>Director:</a:t>
              </a:r>
            </a:p>
            <a:p>
              <a:r>
                <a:rPr lang="en-US" sz="1200" dirty="0"/>
                <a:t>Manager:</a:t>
              </a:r>
              <a:endParaRPr lang="en-US" dirty="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EA43E35-6603-4B9C-B99F-4105641A58C1}"/>
                </a:ext>
              </a:extLst>
            </p:cNvPr>
            <p:cNvSpPr/>
            <p:nvPr/>
          </p:nvSpPr>
          <p:spPr>
            <a:xfrm>
              <a:off x="10927937" y="598339"/>
              <a:ext cx="329124" cy="8523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21B7000B-8EB8-4A73-9185-B5B9638FDEAA}"/>
                </a:ext>
              </a:extLst>
            </p:cNvPr>
            <p:cNvSpPr/>
            <p:nvPr/>
          </p:nvSpPr>
          <p:spPr>
            <a:xfrm>
              <a:off x="10927937" y="788413"/>
              <a:ext cx="329124" cy="8522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2E15BD4-8CA9-4EB2-BFAD-786737B9ADE0}"/>
                </a:ext>
              </a:extLst>
            </p:cNvPr>
            <p:cNvSpPr/>
            <p:nvPr/>
          </p:nvSpPr>
          <p:spPr>
            <a:xfrm>
              <a:off x="10927937" y="1148056"/>
              <a:ext cx="329124" cy="852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CFF35AC1-AC7E-43A1-86F2-B48795DE6A38}"/>
                </a:ext>
              </a:extLst>
            </p:cNvPr>
            <p:cNvSpPr/>
            <p:nvPr/>
          </p:nvSpPr>
          <p:spPr>
            <a:xfrm>
              <a:off x="10927937" y="975813"/>
              <a:ext cx="329124" cy="85229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5A27F5B1-8B3B-48F0-9C44-BB76071FE4D1}"/>
              </a:ext>
            </a:extLst>
          </p:cNvPr>
          <p:cNvSpPr/>
          <p:nvPr/>
        </p:nvSpPr>
        <p:spPr>
          <a:xfrm>
            <a:off x="10927937" y="1226974"/>
            <a:ext cx="329124" cy="85229"/>
          </a:xfrm>
          <a:prstGeom prst="rect">
            <a:avLst/>
          </a:prstGeom>
          <a:solidFill>
            <a:schemeClr val="accent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46098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C353D-1166-4DC3-9B3C-2387A47FCA4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4286" y="-27898"/>
            <a:ext cx="5056827" cy="816312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Chief Information Officer Organiz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9D3F07-39BE-41B5-BB00-6AB0CA628939}"/>
              </a:ext>
            </a:extLst>
          </p:cNvPr>
          <p:cNvSpPr/>
          <p:nvPr/>
        </p:nvSpPr>
        <p:spPr>
          <a:xfrm>
            <a:off x="5974878" y="3244430"/>
            <a:ext cx="242248" cy="3691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n-US" sz="1798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798" dirty="0">
              <a:solidFill>
                <a:prstClr val="black"/>
              </a:solidFill>
              <a:latin typeface="Rockwell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46BD3D7-FCB7-4107-A5C3-01C63215E2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99021365"/>
              </p:ext>
            </p:extLst>
          </p:nvPr>
        </p:nvGraphicFramePr>
        <p:xfrm>
          <a:off x="515008" y="556592"/>
          <a:ext cx="10919610" cy="52581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4" name="Group 13">
            <a:extLst>
              <a:ext uri="{FF2B5EF4-FFF2-40B4-BE49-F238E27FC236}">
                <a16:creationId xmlns:a16="http://schemas.microsoft.com/office/drawing/2014/main" id="{67AB587A-1B69-4881-8BFA-78FB4B7ABD9C}"/>
              </a:ext>
            </a:extLst>
          </p:cNvPr>
          <p:cNvGrpSpPr/>
          <p:nvPr/>
        </p:nvGrpSpPr>
        <p:grpSpPr>
          <a:xfrm>
            <a:off x="9346189" y="325929"/>
            <a:ext cx="2386149" cy="1384995"/>
            <a:chOff x="9346189" y="325929"/>
            <a:chExt cx="2386149" cy="1384995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AB04A3A-8A90-4C6E-A4DE-1803FC6EEC9B}"/>
                </a:ext>
              </a:extLst>
            </p:cNvPr>
            <p:cNvSpPr txBox="1"/>
            <p:nvPr/>
          </p:nvSpPr>
          <p:spPr>
            <a:xfrm>
              <a:off x="9346189" y="325929"/>
              <a:ext cx="2386149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Legend:</a:t>
              </a:r>
            </a:p>
            <a:p>
              <a:r>
                <a:rPr lang="en-US" sz="1200" dirty="0"/>
                <a:t>Chief Officer &amp; EVP:</a:t>
              </a:r>
            </a:p>
            <a:p>
              <a:r>
                <a:rPr lang="en-US" sz="1200" dirty="0"/>
                <a:t>Vice President:</a:t>
              </a:r>
            </a:p>
            <a:p>
              <a:r>
                <a:rPr lang="en-US" sz="1200" dirty="0"/>
                <a:t>Deputy CISO:</a:t>
              </a:r>
            </a:p>
            <a:p>
              <a:r>
                <a:rPr lang="en-US" sz="1200" dirty="0"/>
                <a:t>Executive Dir:</a:t>
              </a:r>
            </a:p>
            <a:p>
              <a:r>
                <a:rPr lang="en-US" sz="1200" dirty="0"/>
                <a:t>Director:</a:t>
              </a:r>
            </a:p>
            <a:p>
              <a:r>
                <a:rPr lang="en-US" sz="1200" dirty="0"/>
                <a:t>Manager:</a:t>
              </a:r>
              <a:endParaRPr lang="en-US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40AD357-F2A6-4195-A470-29E8FC2200B1}"/>
                </a:ext>
              </a:extLst>
            </p:cNvPr>
            <p:cNvSpPr/>
            <p:nvPr/>
          </p:nvSpPr>
          <p:spPr>
            <a:xfrm>
              <a:off x="10927937" y="598339"/>
              <a:ext cx="329124" cy="8523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7FD4FAF-7578-462E-A265-6365C853DE43}"/>
                </a:ext>
              </a:extLst>
            </p:cNvPr>
            <p:cNvSpPr/>
            <p:nvPr/>
          </p:nvSpPr>
          <p:spPr>
            <a:xfrm>
              <a:off x="10927937" y="788413"/>
              <a:ext cx="329124" cy="8522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A83CF989-2129-4723-BF98-4B300889079D}"/>
                </a:ext>
              </a:extLst>
            </p:cNvPr>
            <p:cNvSpPr/>
            <p:nvPr/>
          </p:nvSpPr>
          <p:spPr>
            <a:xfrm>
              <a:off x="10927937" y="1345961"/>
              <a:ext cx="329124" cy="852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2E48425-F7B8-4089-B784-DCC6C96314F4}"/>
                </a:ext>
              </a:extLst>
            </p:cNvPr>
            <p:cNvSpPr/>
            <p:nvPr/>
          </p:nvSpPr>
          <p:spPr>
            <a:xfrm>
              <a:off x="10927937" y="975813"/>
              <a:ext cx="329124" cy="85229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92F7FB36-2049-417C-84F4-8A11D20A2A9D}"/>
                </a:ext>
              </a:extLst>
            </p:cNvPr>
            <p:cNvSpPr/>
            <p:nvPr/>
          </p:nvSpPr>
          <p:spPr>
            <a:xfrm>
              <a:off x="10927937" y="1550246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962D5617-1694-4D1A-9C3F-357B92698135}"/>
                </a:ext>
              </a:extLst>
            </p:cNvPr>
            <p:cNvSpPr/>
            <p:nvPr/>
          </p:nvSpPr>
          <p:spPr>
            <a:xfrm>
              <a:off x="10927937" y="1154426"/>
              <a:ext cx="329124" cy="85229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43522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3">
                <a:lumMod val="5000"/>
                <a:lumOff val="95000"/>
              </a:schemeClr>
            </a:gs>
            <a:gs pos="74000">
              <a:schemeClr val="accent3">
                <a:lumMod val="45000"/>
                <a:lumOff val="55000"/>
              </a:schemeClr>
            </a:gs>
            <a:gs pos="83000">
              <a:schemeClr val="accent3">
                <a:lumMod val="45000"/>
                <a:lumOff val="55000"/>
              </a:schemeClr>
            </a:gs>
            <a:gs pos="100000">
              <a:schemeClr val="accent3">
                <a:lumMod val="30000"/>
                <a:lumOff val="70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A92DC525-2871-4991-9277-EB23B7C5ADC3}"/>
              </a:ext>
            </a:extLst>
          </p:cNvPr>
          <p:cNvSpPr/>
          <p:nvPr/>
        </p:nvSpPr>
        <p:spPr>
          <a:xfrm>
            <a:off x="797959" y="225203"/>
            <a:ext cx="4641850" cy="3683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Pritha Mehra, Chief Information Officer &amp; EVP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 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B455993-3BB9-4324-8A73-D07CA14B0B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174821"/>
              </p:ext>
            </p:extLst>
          </p:nvPr>
        </p:nvGraphicFramePr>
        <p:xfrm>
          <a:off x="718365" y="740553"/>
          <a:ext cx="6160900" cy="3889748"/>
        </p:xfrm>
        <a:graphic>
          <a:graphicData uri="http://schemas.openxmlformats.org/drawingml/2006/table">
            <a:tbl>
              <a:tblPr>
                <a:effectLst>
                  <a:outerShdw blurRad="50800" dist="38100" dir="13500000" algn="br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1293626">
                  <a:extLst>
                    <a:ext uri="{9D8B030D-6E8A-4147-A177-3AD203B41FA5}">
                      <a16:colId xmlns:a16="http://schemas.microsoft.com/office/drawing/2014/main" val="4221583385"/>
                    </a:ext>
                  </a:extLst>
                </a:gridCol>
                <a:gridCol w="1390650">
                  <a:extLst>
                    <a:ext uri="{9D8B030D-6E8A-4147-A177-3AD203B41FA5}">
                      <a16:colId xmlns:a16="http://schemas.microsoft.com/office/drawing/2014/main" val="1041064551"/>
                    </a:ext>
                  </a:extLst>
                </a:gridCol>
                <a:gridCol w="3476624">
                  <a:extLst>
                    <a:ext uri="{9D8B030D-6E8A-4147-A177-3AD203B41FA5}">
                      <a16:colId xmlns:a16="http://schemas.microsoft.com/office/drawing/2014/main" val="1057957189"/>
                    </a:ext>
                  </a:extLst>
                </a:gridCol>
              </a:tblGrid>
              <a:tr h="39854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Last Nam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First Nam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0070C0"/>
                          </a:solidFill>
                          <a:effectLst/>
                          <a:latin typeface="Calibri" panose="020F0502020204030204" pitchFamily="34" charset="0"/>
                        </a:rPr>
                        <a:t>Emai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540550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Arcari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Lisa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lisa.h.arcari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19472131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Bosch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Vicki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vicki.m.bosch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32366975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Byrne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Joh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833C0C"/>
                          </a:solidFill>
                          <a:effectLst/>
                          <a:latin typeface="Calibri" panose="020F0502020204030204" pitchFamily="34" charset="0"/>
                        </a:rPr>
                        <a:t>John.P.Byrne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77975812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Crabb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Gregory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Gregory.S.Crabb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0549827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Koetz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William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William.E.Koetz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94698022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McCrery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Marc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548235"/>
                          </a:solidFill>
                          <a:effectLst/>
                          <a:latin typeface="Calibri" panose="020F0502020204030204" pitchFamily="34" charset="0"/>
                        </a:rPr>
                        <a:t>marc.d.mccrery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9426434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Methfessel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Dori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</a:rPr>
                        <a:t>Dorin.M.Methfessel2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0992712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FFC000"/>
                          </a:solidFill>
                          <a:effectLst/>
                          <a:latin typeface="Calibri" panose="020F0502020204030204" pitchFamily="34" charset="0"/>
                        </a:rPr>
                        <a:t>Nielsen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rgbClr val="FFC000"/>
                          </a:solidFill>
                          <a:effectLst/>
                          <a:latin typeface="Calibri" panose="020F0502020204030204" pitchFamily="34" charset="0"/>
                        </a:rPr>
                        <a:t>Christophe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 dirty="0">
                          <a:solidFill>
                            <a:srgbClr val="FFC000"/>
                          </a:solidFill>
                          <a:effectLst/>
                          <a:latin typeface="Calibri" panose="020F0502020204030204" pitchFamily="34" charset="0"/>
                        </a:rPr>
                        <a:t>Christopher.A.Nielsen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601720644"/>
                  </a:ext>
                </a:extLst>
              </a:tr>
              <a:tr h="3879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Wheeler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erry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400" b="1" i="0" u="none" strike="noStrike" kern="1200" dirty="0">
                          <a:solidFill>
                            <a:srgbClr val="ED7D3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Jerry.L.Wheeler@usps.gov</a:t>
                      </a:r>
                    </a:p>
                  </a:txBody>
                  <a:tcPr marL="5443" marR="5443" marT="5443" marB="0" anchor="b">
                    <a:lnL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42142862"/>
                  </a:ext>
                </a:extLst>
              </a:tr>
            </a:tbl>
          </a:graphicData>
        </a:graphic>
      </p:graphicFrame>
      <p:grpSp>
        <p:nvGrpSpPr>
          <p:cNvPr id="13" name="Group 12">
            <a:extLst>
              <a:ext uri="{FF2B5EF4-FFF2-40B4-BE49-F238E27FC236}">
                <a16:creationId xmlns:a16="http://schemas.microsoft.com/office/drawing/2014/main" id="{74ECE8E9-07B5-47CD-94C8-D420AB950D6A}"/>
              </a:ext>
            </a:extLst>
          </p:cNvPr>
          <p:cNvGrpSpPr/>
          <p:nvPr/>
        </p:nvGrpSpPr>
        <p:grpSpPr>
          <a:xfrm>
            <a:off x="9346189" y="325929"/>
            <a:ext cx="2386149" cy="1384995"/>
            <a:chOff x="9346189" y="325929"/>
            <a:chExt cx="2386149" cy="1384995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01E1A992-08E5-4C20-833D-4C987897204A}"/>
                </a:ext>
              </a:extLst>
            </p:cNvPr>
            <p:cNvSpPr txBox="1"/>
            <p:nvPr/>
          </p:nvSpPr>
          <p:spPr>
            <a:xfrm>
              <a:off x="9346189" y="325929"/>
              <a:ext cx="2386149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Legend:</a:t>
              </a:r>
            </a:p>
            <a:p>
              <a:r>
                <a:rPr lang="en-US" sz="1200" dirty="0"/>
                <a:t>Chief Officer &amp; EVP:</a:t>
              </a:r>
            </a:p>
            <a:p>
              <a:r>
                <a:rPr lang="en-US" sz="1200" dirty="0"/>
                <a:t>Vice President:</a:t>
              </a:r>
            </a:p>
            <a:p>
              <a:r>
                <a:rPr lang="en-US" sz="1200" dirty="0"/>
                <a:t>Deputy CISO:</a:t>
              </a:r>
            </a:p>
            <a:p>
              <a:r>
                <a:rPr lang="en-US" sz="1200" dirty="0"/>
                <a:t>Executive Dir:</a:t>
              </a:r>
            </a:p>
            <a:p>
              <a:r>
                <a:rPr lang="en-US" sz="1200" dirty="0"/>
                <a:t>Director:</a:t>
              </a:r>
            </a:p>
            <a:p>
              <a:r>
                <a:rPr lang="en-US" sz="1200" dirty="0"/>
                <a:t>Manager:</a:t>
              </a:r>
              <a:endParaRPr lang="en-US" dirty="0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15733ECD-D38A-48AD-B8AC-4FEAC8D8B987}"/>
                </a:ext>
              </a:extLst>
            </p:cNvPr>
            <p:cNvSpPr/>
            <p:nvPr/>
          </p:nvSpPr>
          <p:spPr>
            <a:xfrm>
              <a:off x="10927937" y="598339"/>
              <a:ext cx="329124" cy="8523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18427E42-B0D0-442C-AC71-525FB81BF3E6}"/>
                </a:ext>
              </a:extLst>
            </p:cNvPr>
            <p:cNvSpPr/>
            <p:nvPr/>
          </p:nvSpPr>
          <p:spPr>
            <a:xfrm>
              <a:off x="10927937" y="788413"/>
              <a:ext cx="329124" cy="8522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A25C85C-635D-4276-AA36-54BE316F8587}"/>
                </a:ext>
              </a:extLst>
            </p:cNvPr>
            <p:cNvSpPr/>
            <p:nvPr/>
          </p:nvSpPr>
          <p:spPr>
            <a:xfrm>
              <a:off x="10927937" y="1345961"/>
              <a:ext cx="329124" cy="852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D323798-E06E-4D09-A0A6-303B83DBCEF9}"/>
                </a:ext>
              </a:extLst>
            </p:cNvPr>
            <p:cNvSpPr/>
            <p:nvPr/>
          </p:nvSpPr>
          <p:spPr>
            <a:xfrm>
              <a:off x="10927937" y="975813"/>
              <a:ext cx="329124" cy="85229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2C1DA94-1EFA-4A0A-9563-D5804E9D07F0}"/>
                </a:ext>
              </a:extLst>
            </p:cNvPr>
            <p:cNvSpPr/>
            <p:nvPr/>
          </p:nvSpPr>
          <p:spPr>
            <a:xfrm>
              <a:off x="10927937" y="1550246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271C59CD-B12B-4827-ABCC-742A039EE34A}"/>
                </a:ext>
              </a:extLst>
            </p:cNvPr>
            <p:cNvSpPr/>
            <p:nvPr/>
          </p:nvSpPr>
          <p:spPr>
            <a:xfrm>
              <a:off x="10927937" y="1154426"/>
              <a:ext cx="329124" cy="85229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947338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7C353D-1166-4DC3-9B3C-2387A47FCA4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48437" y="5052"/>
            <a:ext cx="6570416" cy="861449"/>
          </a:xfrm>
        </p:spPr>
        <p:txBody>
          <a:bodyPr>
            <a:normAutofit/>
          </a:bodyPr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</a:rPr>
              <a:t>Chief Customer &amp; Marketing Officer Organiz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D9D3F07-39BE-41B5-BB00-6AB0CA628939}"/>
              </a:ext>
            </a:extLst>
          </p:cNvPr>
          <p:cNvSpPr/>
          <p:nvPr/>
        </p:nvSpPr>
        <p:spPr>
          <a:xfrm>
            <a:off x="5974878" y="3244430"/>
            <a:ext cx="242248" cy="36914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3852">
              <a:defRPr/>
            </a:pPr>
            <a:r>
              <a:rPr lang="en-US" sz="1798" dirty="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798" dirty="0">
              <a:solidFill>
                <a:prstClr val="black"/>
              </a:solidFill>
              <a:latin typeface="Rockwell"/>
            </a:endParaRP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046BD3D7-FCB7-4107-A5C3-01C63215E2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6802179"/>
              </p:ext>
            </p:extLst>
          </p:nvPr>
        </p:nvGraphicFramePr>
        <p:xfrm>
          <a:off x="247830" y="773678"/>
          <a:ext cx="11696339" cy="53106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A52E5096-5C54-4675-9E9F-BA2BE8F871B5}"/>
              </a:ext>
            </a:extLst>
          </p:cNvPr>
          <p:cNvGrpSpPr/>
          <p:nvPr/>
        </p:nvGrpSpPr>
        <p:grpSpPr>
          <a:xfrm>
            <a:off x="9334157" y="81671"/>
            <a:ext cx="2386149" cy="1569660"/>
            <a:chOff x="9334157" y="81671"/>
            <a:chExt cx="2386149" cy="1569660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5335A9A1-87A8-41FE-961A-7D75C1B8CA73}"/>
                </a:ext>
              </a:extLst>
            </p:cNvPr>
            <p:cNvSpPr txBox="1"/>
            <p:nvPr/>
          </p:nvSpPr>
          <p:spPr>
            <a:xfrm>
              <a:off x="9334157" y="81671"/>
              <a:ext cx="2386149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/>
                <a:t>Legend:</a:t>
              </a:r>
            </a:p>
            <a:p>
              <a:r>
                <a:rPr lang="en-US" sz="1200" dirty="0"/>
                <a:t>Chief Officer &amp; EVP:</a:t>
              </a:r>
            </a:p>
            <a:p>
              <a:r>
                <a:rPr lang="en-US" sz="1200" dirty="0"/>
                <a:t>Vice President:</a:t>
              </a:r>
            </a:p>
            <a:p>
              <a:r>
                <a:rPr lang="en-US" sz="1200" dirty="0"/>
                <a:t>Managing Director:</a:t>
              </a:r>
            </a:p>
            <a:p>
              <a:r>
                <a:rPr lang="en-US" sz="1200" dirty="0"/>
                <a:t>Executive Dir:</a:t>
              </a:r>
            </a:p>
            <a:p>
              <a:r>
                <a:rPr lang="en-US" sz="1200" dirty="0"/>
                <a:t>Director:</a:t>
              </a:r>
            </a:p>
            <a:p>
              <a:r>
                <a:rPr lang="en-US" sz="1200" dirty="0"/>
                <a:t>Manager:</a:t>
              </a:r>
            </a:p>
            <a:p>
              <a:r>
                <a:rPr lang="en-US" sz="1200" dirty="0"/>
                <a:t>Consumer Advocate</a:t>
              </a:r>
              <a:endParaRPr lang="en-US" dirty="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FDAFCF6-58D7-47CB-AD03-09972A237570}"/>
                </a:ext>
              </a:extLst>
            </p:cNvPr>
            <p:cNvSpPr/>
            <p:nvPr/>
          </p:nvSpPr>
          <p:spPr>
            <a:xfrm>
              <a:off x="10915905" y="354081"/>
              <a:ext cx="329124" cy="8523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6E43F52A-5AAB-4055-98CD-282A2AEDF7C6}"/>
                </a:ext>
              </a:extLst>
            </p:cNvPr>
            <p:cNvSpPr/>
            <p:nvPr/>
          </p:nvSpPr>
          <p:spPr>
            <a:xfrm>
              <a:off x="10915905" y="544155"/>
              <a:ext cx="329124" cy="8522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64FC050-06F1-4D60-8233-712620FDCFB9}"/>
                </a:ext>
              </a:extLst>
            </p:cNvPr>
            <p:cNvSpPr/>
            <p:nvPr/>
          </p:nvSpPr>
          <p:spPr>
            <a:xfrm>
              <a:off x="10915905" y="1101703"/>
              <a:ext cx="329124" cy="8522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86287FFA-1AED-4E00-BDB3-73B02D4F5F19}"/>
                </a:ext>
              </a:extLst>
            </p:cNvPr>
            <p:cNvSpPr/>
            <p:nvPr/>
          </p:nvSpPr>
          <p:spPr>
            <a:xfrm>
              <a:off x="10915905" y="731555"/>
              <a:ext cx="329124" cy="85229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40D7272-9CC8-4309-ACAA-E12BC3A4A166}"/>
                </a:ext>
              </a:extLst>
            </p:cNvPr>
            <p:cNvSpPr/>
            <p:nvPr/>
          </p:nvSpPr>
          <p:spPr>
            <a:xfrm>
              <a:off x="10915905" y="1289512"/>
              <a:ext cx="329124" cy="8522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3178F5F-7835-4E4A-850A-1C7B062C1C5E}"/>
                </a:ext>
              </a:extLst>
            </p:cNvPr>
            <p:cNvSpPr/>
            <p:nvPr/>
          </p:nvSpPr>
          <p:spPr>
            <a:xfrm>
              <a:off x="10915905" y="910168"/>
              <a:ext cx="329124" cy="85229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656AAE8-C0DC-4E1D-A1EE-12126D2B2E3D}"/>
                </a:ext>
              </a:extLst>
            </p:cNvPr>
            <p:cNvSpPr/>
            <p:nvPr/>
          </p:nvSpPr>
          <p:spPr>
            <a:xfrm>
              <a:off x="10915905" y="1467658"/>
              <a:ext cx="329124" cy="85229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07120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vafwNFQfiORp6TRzDFB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gm3OXUQfuv8Hx.kOCZZ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181</TotalTime>
  <Words>2235</Words>
  <Application>Microsoft Office PowerPoint</Application>
  <PresentationFormat>Widescreen</PresentationFormat>
  <Paragraphs>665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ＭＳ Ｐゴシック</vt:lpstr>
      <vt:lpstr>Arial</vt:lpstr>
      <vt:lpstr>Calibri</vt:lpstr>
      <vt:lpstr>Calibri Light</vt:lpstr>
      <vt:lpstr>Rockwell</vt:lpstr>
      <vt:lpstr>Times New Roman</vt:lpstr>
      <vt:lpstr>Office Theme</vt:lpstr>
      <vt:lpstr>think-cell Slide</vt:lpstr>
      <vt:lpstr>PowerPoint Presentation</vt:lpstr>
      <vt:lpstr>PowerPoint Presentation</vt:lpstr>
      <vt:lpstr>Chief Technology Operations Officer Organization</vt:lpstr>
      <vt:lpstr>PowerPoint Presentation</vt:lpstr>
      <vt:lpstr>Chief Logistics &amp; Processing Operations Officer Organization</vt:lpstr>
      <vt:lpstr>PowerPoint Presentation</vt:lpstr>
      <vt:lpstr>Chief Information Officer Organization</vt:lpstr>
      <vt:lpstr>PowerPoint Presentation</vt:lpstr>
      <vt:lpstr>Chief Customer &amp; Marketing Officer Organization</vt:lpstr>
      <vt:lpstr>PowerPoint Presentation</vt:lpstr>
      <vt:lpstr>Chief Retail &amp; Delivery Officer Organization</vt:lpstr>
      <vt:lpstr>PowerPoint Presentation</vt:lpstr>
      <vt:lpstr> Chief Commerce &amp; Business Solutions Officer Organiz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Watts, Jacqueline Y - Washington, DC</dc:creator>
  <cp:lastModifiedBy>Harris, Patricia N - Washington, DC</cp:lastModifiedBy>
  <cp:revision>186</cp:revision>
  <dcterms:created xsi:type="dcterms:W3CDTF">2021-01-27T22:45:29Z</dcterms:created>
  <dcterms:modified xsi:type="dcterms:W3CDTF">2021-02-05T14:20:06Z</dcterms:modified>
</cp:coreProperties>
</file>